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slideLayouts/slideLayout6.xml" ContentType="application/vnd.openxmlformats-officedocument.presentationml.slideLayout+xml"/>
  <Override PartName="/ppt/theme/theme4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1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2.xml" ContentType="application/vnd.openxmlformats-officedocument.presentationml.notesSl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3.xml" ContentType="application/vnd.openxmlformats-officedocument.presentationml.notesSl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4.xml" ContentType="application/vnd.openxmlformats-officedocument.presentationml.notesSl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5.xml" ContentType="application/vnd.openxmlformats-officedocument.presentationml.notesSlid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6.xml" ContentType="application/vnd.openxmlformats-officedocument.presentationml.notesSl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  <p:sldMasterId id="2147483701" r:id="rId2"/>
    <p:sldMasterId id="2147483703" r:id="rId3"/>
    <p:sldMasterId id="2147483695" r:id="rId4"/>
    <p:sldMasterId id="2147483711" r:id="rId5"/>
  </p:sldMasterIdLst>
  <p:notesMasterIdLst>
    <p:notesMasterId r:id="rId13"/>
  </p:notesMasterIdLst>
  <p:handoutMasterIdLst>
    <p:handoutMasterId r:id="rId14"/>
  </p:handoutMasterIdLst>
  <p:sldIdLst>
    <p:sldId id="368" r:id="rId6"/>
    <p:sldId id="370" r:id="rId7"/>
    <p:sldId id="374" r:id="rId8"/>
    <p:sldId id="376" r:id="rId9"/>
    <p:sldId id="388" r:id="rId10"/>
    <p:sldId id="387" r:id="rId11"/>
    <p:sldId id="379" r:id="rId12"/>
  </p:sldIdLst>
  <p:sldSz cx="12192000" cy="6858000"/>
  <p:notesSz cx="6934200" cy="9220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80" userDrawn="1">
          <p15:clr>
            <a:srgbClr val="A4A3A4"/>
          </p15:clr>
        </p15:guide>
        <p15:guide id="2" orient="horz" pos="4176" userDrawn="1">
          <p15:clr>
            <a:srgbClr val="A4A3A4"/>
          </p15:clr>
        </p15:guide>
        <p15:guide id="3" pos="3840" userDrawn="1">
          <p15:clr>
            <a:srgbClr val="A4A3A4"/>
          </p15:clr>
        </p15:guide>
        <p15:guide id="4" orient="horz" pos="648" userDrawn="1">
          <p15:clr>
            <a:srgbClr val="A4A3A4"/>
          </p15:clr>
        </p15:guide>
        <p15:guide id="5" pos="19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284B"/>
    <a:srgbClr val="415464"/>
    <a:srgbClr val="61A1D5"/>
    <a:srgbClr val="6D97C9"/>
    <a:srgbClr val="8CC9BA"/>
    <a:srgbClr val="85BF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766" autoAdjust="0"/>
    <p:restoredTop sz="54850" autoAdjust="0"/>
  </p:normalViewPr>
  <p:slideViewPr>
    <p:cSldViewPr snapToGrid="0">
      <p:cViewPr varScale="1">
        <p:scale>
          <a:sx n="57" d="100"/>
          <a:sy n="57" d="100"/>
        </p:scale>
        <p:origin x="1764" y="78"/>
      </p:cViewPr>
      <p:guideLst>
        <p:guide orient="horz" pos="1080"/>
        <p:guide orient="horz" pos="4176"/>
        <p:guide pos="3840"/>
        <p:guide orient="horz" pos="648"/>
        <p:guide pos="196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834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05138" cy="46196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27475" y="1"/>
            <a:ext cx="3005138" cy="461963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CCC57495-AF71-431B-842B-FED565D9387F}" type="datetimeFigureOut">
              <a:rPr lang="en-US" smtClean="0"/>
              <a:t>2/24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58238"/>
            <a:ext cx="3005138" cy="46196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27475" y="8758238"/>
            <a:ext cx="3005138" cy="46196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D180EB6C-E84F-44D1-9FB2-1EE8B608D1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76337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04820" cy="462611"/>
          </a:xfrm>
          <a:prstGeom prst="rect">
            <a:avLst/>
          </a:prstGeom>
        </p:spPr>
        <p:txBody>
          <a:bodyPr vert="horz" lIns="92293" tIns="46146" rIns="92293" bIns="4614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27775" y="1"/>
            <a:ext cx="3004820" cy="462611"/>
          </a:xfrm>
          <a:prstGeom prst="rect">
            <a:avLst/>
          </a:prstGeom>
        </p:spPr>
        <p:txBody>
          <a:bodyPr vert="horz" lIns="92293" tIns="46146" rIns="92293" bIns="46146" rtlCol="0"/>
          <a:lstStyle>
            <a:lvl1pPr algn="r">
              <a:defRPr sz="1200"/>
            </a:lvl1pPr>
          </a:lstStyle>
          <a:p>
            <a:fld id="{42C3D8BA-8D68-4D12-9BB9-5C7012B879E6}" type="datetimeFigureOut">
              <a:rPr lang="en-US" smtClean="0"/>
              <a:t>2/2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1675" y="1152525"/>
            <a:ext cx="5530850" cy="3111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93" tIns="46146" rIns="92293" bIns="4614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3420" y="4437221"/>
            <a:ext cx="5547360" cy="3630454"/>
          </a:xfrm>
          <a:prstGeom prst="rect">
            <a:avLst/>
          </a:prstGeom>
        </p:spPr>
        <p:txBody>
          <a:bodyPr vert="horz" lIns="92293" tIns="46146" rIns="92293" bIns="46146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57591"/>
            <a:ext cx="3004820" cy="462610"/>
          </a:xfrm>
          <a:prstGeom prst="rect">
            <a:avLst/>
          </a:prstGeom>
        </p:spPr>
        <p:txBody>
          <a:bodyPr vert="horz" lIns="92293" tIns="46146" rIns="92293" bIns="4614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27775" y="8757591"/>
            <a:ext cx="3004820" cy="462610"/>
          </a:xfrm>
          <a:prstGeom prst="rect">
            <a:avLst/>
          </a:prstGeom>
        </p:spPr>
        <p:txBody>
          <a:bodyPr vert="horz" lIns="92293" tIns="46146" rIns="92293" bIns="46146" rtlCol="0" anchor="b"/>
          <a:lstStyle>
            <a:lvl1pPr algn="r">
              <a:defRPr sz="1200"/>
            </a:lvl1pPr>
          </a:lstStyle>
          <a:p>
            <a:fld id="{6BFEA448-15F0-4CF8-BB08-0E1E198E2E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4291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/>
              <a:t>What is NSS-Supply?</a:t>
            </a:r>
          </a:p>
          <a:p>
            <a:endParaRPr lang="en-US" dirty="0" smtClean="0"/>
          </a:p>
          <a:p>
            <a:r>
              <a:rPr lang="en-US" dirty="0" smtClean="0"/>
              <a:t>Naval Sustainment System-Supply is simply the Navy’s new supply chain transformation effort.</a:t>
            </a:r>
          </a:p>
          <a:p>
            <a:endParaRPr lang="en-US" dirty="0" smtClean="0"/>
          </a:p>
          <a:p>
            <a:r>
              <a:rPr lang="en-US" b="1" dirty="0" smtClean="0"/>
              <a:t>How is NSS-Supply different from previous approaches to supply chain logistics?</a:t>
            </a:r>
          </a:p>
          <a:p>
            <a:endParaRPr lang="en-US" dirty="0" smtClean="0"/>
          </a:p>
          <a:p>
            <a:r>
              <a:rPr lang="en-US" dirty="0" smtClean="0"/>
              <a:t>NSS-Supply spans across the broader Navy to review upstream and downstream supply chain inputs that drive readiness.</a:t>
            </a:r>
          </a:p>
          <a:p>
            <a:endParaRPr lang="en-US" dirty="0" smtClean="0"/>
          </a:p>
          <a:p>
            <a:r>
              <a:rPr lang="en-US" dirty="0" smtClean="0"/>
              <a:t>Readiness is the overarching goal.</a:t>
            </a:r>
          </a:p>
          <a:p>
            <a:endParaRPr lang="en-US" dirty="0" smtClean="0"/>
          </a:p>
          <a:p>
            <a:r>
              <a:rPr lang="en-US" dirty="0" smtClean="0"/>
              <a:t>While previous efforts have attempted to improve readiness, this approach is more holistic in improving Navy’s supply chain readines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FEA448-15F0-4CF8-BB08-0E1E198E2EA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067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Naval Sustainment System-Supply</a:t>
            </a:r>
            <a:r>
              <a:rPr lang="en-US" baseline="0" dirty="0" smtClean="0"/>
              <a:t> is the newest NSS.</a:t>
            </a:r>
          </a:p>
          <a:p>
            <a:endParaRPr lang="en-US" baseline="0" dirty="0" smtClean="0"/>
          </a:p>
          <a:p>
            <a:r>
              <a:rPr lang="en-US" baseline="0" dirty="0" smtClean="0"/>
              <a:t>NSS-Aviation and NSS-Shipyard have already demonstrated success using proven commercial industry “best practice” tailored to the Navy’s specific needs.</a:t>
            </a:r>
          </a:p>
          <a:p>
            <a:endParaRPr lang="en-US" dirty="0" smtClean="0"/>
          </a:p>
          <a:p>
            <a:r>
              <a:rPr lang="en-US" dirty="0" smtClean="0"/>
              <a:t>Commercial industry has shown us the value of having supply chain managers involved in decisions throughout the organization.</a:t>
            </a:r>
          </a:p>
          <a:p>
            <a:endParaRPr lang="en-US" dirty="0" smtClean="0"/>
          </a:p>
          <a:p>
            <a:r>
              <a:rPr lang="en-US" dirty="0" smtClean="0"/>
              <a:t>Navy requires a single, strategic-scale, sustainable design for Navy-wide supply chains with the right mix of commercial and organic activities in order to project and sustain the force required for warfighting.</a:t>
            </a:r>
          </a:p>
          <a:p>
            <a:endParaRPr lang="en-US" dirty="0" smtClean="0"/>
          </a:p>
          <a:p>
            <a:r>
              <a:rPr lang="en-US" dirty="0" smtClean="0"/>
              <a:t>We</a:t>
            </a:r>
            <a:r>
              <a:rPr lang="en-US" baseline="0" dirty="0" smtClean="0"/>
              <a:t> </a:t>
            </a:r>
            <a:r>
              <a:rPr lang="en-US" baseline="0" dirty="0" smtClean="0"/>
              <a:t>need to be ready, as around the world opposing nations built their military might and increase threatening activities against US national interests.</a:t>
            </a:r>
            <a:endParaRPr lang="en-US" dirty="0" smtClean="0"/>
          </a:p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NSS-Supply seeks to strengthen Navy’s supply chain in order to increase readiness, thus enhancing combat capability and creating a model of sustainment that will allow the Navy to effectively generate readiness and sustain global navy power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FEA448-15F0-4CF8-BB08-0E1E198E2EA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5975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 Navy’s diverse supply chains are not all </a:t>
            </a:r>
            <a:r>
              <a:rPr lang="en-US" dirty="0" smtClean="0"/>
              <a:t>“owned” </a:t>
            </a:r>
            <a:r>
              <a:rPr lang="en-US" dirty="0" smtClean="0"/>
              <a:t>and operated by </a:t>
            </a:r>
            <a:r>
              <a:rPr lang="en-US" dirty="0" smtClean="0"/>
              <a:t>NAVSUP. We </a:t>
            </a:r>
            <a:r>
              <a:rPr lang="en-US" dirty="0" smtClean="0"/>
              <a:t>need to partner with the owners and integrate them to</a:t>
            </a:r>
            <a:r>
              <a:rPr lang="en-US" baseline="0" dirty="0" smtClean="0"/>
              <a:t> achieve a coherent flow from end to end.</a:t>
            </a:r>
          </a:p>
          <a:p>
            <a:endParaRPr lang="en-US" baseline="0" dirty="0" smtClean="0"/>
          </a:p>
          <a:p>
            <a:r>
              <a:rPr lang="en-US" baseline="0" dirty="0" smtClean="0"/>
              <a:t>NSS-Supply is a cross-functional approach expanding on successful elements of previous NSS/peer-to-peer work, and driven by fleet metrics and supply-specific ‘North Star’ performance and cost targets/metrics.</a:t>
            </a:r>
          </a:p>
          <a:p>
            <a:endParaRPr lang="en-US" dirty="0" smtClean="0"/>
          </a:p>
          <a:p>
            <a:r>
              <a:rPr lang="en-US" dirty="0" smtClean="0"/>
              <a:t>When we establish expectations and everyone is operating by the same rules, we gain synchronization and are able to perform to those expectations.</a:t>
            </a:r>
          </a:p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o create the supply chain performance the Navy needs, it is imperative that we align and manage all Navy supply chains, end to end, ensuring decision-making is centralized and streamlined</a:t>
            </a:r>
            <a:r>
              <a:rPr lang="en-US" baseline="0" dirty="0" smtClean="0"/>
              <a:t>.</a:t>
            </a:r>
          </a:p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Moving forward requires an integrated, strategic, approach to Navy-wide supply chains that provides the process capabilities we need to achieve and sustain required mission </a:t>
            </a:r>
            <a:r>
              <a:rPr lang="en-US" smtClean="0"/>
              <a:t>performanc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FEA448-15F0-4CF8-BB08-0E1E198E2EA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489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e will integrate, synchronize, and orchestrate end to end supply chain performance.</a:t>
            </a:r>
            <a:b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o accomplish this, NAVSUP will set Pillar targets driven by TYCOM requirements and supply chain effectiveness "North Star" perform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e Pillars are on the next slide, and the effectiveness North Star on the one after that.</a:t>
            </a:r>
            <a:b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s new approach inverts the historical supported/supporting relationships to drive higher supply chain performance end to end.</a:t>
            </a:r>
          </a:p>
          <a:p>
            <a:pPr algn="l"/>
            <a:endParaRPr lang="en-US" b="0" dirty="0" smtClean="0"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ccess of supporting commanders is based on movement of the supported commander North Star metric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ut first we’ll look at the structure of NSS-Supply and the six pillars.</a:t>
            </a:r>
          </a:p>
          <a:p>
            <a:pPr algn="l"/>
            <a:endParaRPr lang="en-US" b="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FEA448-15F0-4CF8-BB08-0E1E198E2EA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49225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're organizing NSS-Supply into these key six key pillars.</a:t>
            </a:r>
          </a:p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mand Management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seeks to expand competition with suppliers and deepen partnership with strategic supplier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timize Working Capital Fund Portfolio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will take a business management approach in managing cash to maximize readines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hape Industrial Base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ims to influence demand and increase predictability through design, engineering, and fleet and industrial behaviors, etc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ptimize Organic Repair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pursues an increase in organic repair volume by maximizing use of capacity and capability.</a:t>
            </a:r>
          </a:p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crease End-to-End Velocity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seeks to achieve end-to-end repair turnaround times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no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re than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mes commercial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ndards)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d move parts in the system faster.</a:t>
            </a:r>
          </a:p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hieve End-to-End Integration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the final pillar above those, will integrate existing supply chain resources to a common goal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FEA448-15F0-4CF8-BB08-0E1E198E2EA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38010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 new "Supply Effectiveness Figure of Merit" (</a:t>
            </a:r>
            <a:r>
              <a:rPr lang="en-US" dirty="0" err="1" smtClean="0"/>
              <a:t>SEFoM</a:t>
            </a:r>
            <a:r>
              <a:rPr lang="en-US" dirty="0" smtClean="0"/>
              <a:t>) will be central to this effort and will help balance the readiness achieved vs. the cost to do so; this is a new way of looking at supply chain performance.</a:t>
            </a:r>
          </a:p>
          <a:p>
            <a:endParaRPr lang="en-US" dirty="0" smtClean="0"/>
          </a:p>
          <a:p>
            <a:r>
              <a:rPr lang="en-US" dirty="0" smtClean="0"/>
              <a:t>The [</a:t>
            </a:r>
            <a:r>
              <a:rPr lang="en-US" dirty="0" err="1" smtClean="0"/>
              <a:t>SEFoM</a:t>
            </a:r>
            <a:r>
              <a:rPr lang="en-US" dirty="0" smtClean="0"/>
              <a:t>] is a math equation that yields a number that will be applied to supply chain practices and indicates where we can focus our efforts to achieve balance between readiness and cost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FEA448-15F0-4CF8-BB08-0E1E198E2EA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66774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rough </a:t>
            </a:r>
            <a:r>
              <a:rPr lang="en-US" dirty="0" smtClean="0"/>
              <a:t>NSS, data and analytics are used to continuously reevaluate performance, and project future performance, with the goal of cementing gains and creating a culture of continuous improvement and accountability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FEA448-15F0-4CF8-BB08-0E1E198E2EA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56877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10.xml"/><Relationship Id="rId7" Type="http://schemas.openxmlformats.org/officeDocument/2006/relationships/image" Target="../media/image10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12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tags" Target="../tags/tag12.xml"/><Relationship Id="rId7" Type="http://schemas.openxmlformats.org/officeDocument/2006/relationships/image" Target="../media/image10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2.png"/><Relationship Id="rId4" Type="http://schemas.openxmlformats.org/officeDocument/2006/relationships/slideMaster" Target="../slideMasters/slideMaster5.xml"/><Relationship Id="rId9" Type="http://schemas.microsoft.com/office/2007/relationships/hdphoto" Target="../media/hdphoto2.wdp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0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0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0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0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10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20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21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23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24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20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25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20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25.png"/><Relationship Id="rId2" Type="http://schemas.openxmlformats.org/officeDocument/2006/relationships/tags" Target="../tags/tag5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6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1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3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3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5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5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6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71.xml"/><Relationship Id="rId7" Type="http://schemas.openxmlformats.org/officeDocument/2006/relationships/image" Target="../media/image27.png"/><Relationship Id="rId2" Type="http://schemas.openxmlformats.org/officeDocument/2006/relationships/tags" Target="../tags/tag7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10.png"/><Relationship Id="rId2" Type="http://schemas.openxmlformats.org/officeDocument/2006/relationships/tags" Target="../tags/tag78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10.png"/><Relationship Id="rId2" Type="http://schemas.openxmlformats.org/officeDocument/2006/relationships/tags" Target="../tags/tag80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10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10.png"/><Relationship Id="rId2" Type="http://schemas.openxmlformats.org/officeDocument/2006/relationships/tags" Target="../tags/tag84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10.png"/><Relationship Id="rId2" Type="http://schemas.openxmlformats.org/officeDocument/2006/relationships/tags" Target="../tags/tag86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10.png"/><Relationship Id="rId2" Type="http://schemas.openxmlformats.org/officeDocument/2006/relationships/tags" Target="../tags/tag8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7" Type="http://schemas.openxmlformats.org/officeDocument/2006/relationships/image" Target="../media/image20.png"/><Relationship Id="rId2" Type="http://schemas.openxmlformats.org/officeDocument/2006/relationships/tags" Target="../tags/tag9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21.png"/><Relationship Id="rId2" Type="http://schemas.openxmlformats.org/officeDocument/2006/relationships/tags" Target="../tags/tag92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23.png"/><Relationship Id="rId2" Type="http://schemas.openxmlformats.org/officeDocument/2006/relationships/tags" Target="../tags/tag94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24.png"/><Relationship Id="rId2" Type="http://schemas.openxmlformats.org/officeDocument/2006/relationships/tags" Target="../tags/tag96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image" Target="../media/image20.png"/><Relationship Id="rId2" Type="http://schemas.openxmlformats.org/officeDocument/2006/relationships/tags" Target="../tags/tag98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7" Type="http://schemas.openxmlformats.org/officeDocument/2006/relationships/image" Target="../media/image25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20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25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6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59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2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1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2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3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4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4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5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5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6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7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8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9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0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1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2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image" Target="../media/image30.png"/><Relationship Id="rId2" Type="http://schemas.openxmlformats.org/officeDocument/2006/relationships/tags" Target="../tags/tag125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7" Type="http://schemas.openxmlformats.org/officeDocument/2006/relationships/image" Target="../media/image30.png"/><Relationship Id="rId2" Type="http://schemas.openxmlformats.org/officeDocument/2006/relationships/tags" Target="../tags/tag127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6.xml"/><Relationship Id="rId7" Type="http://schemas.openxmlformats.org/officeDocument/2006/relationships/image" Target="../media/image10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8.xml"/><Relationship Id="rId7" Type="http://schemas.openxmlformats.org/officeDocument/2006/relationships/image" Target="../media/image10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2.png"/><Relationship Id="rId4" Type="http://schemas.openxmlformats.org/officeDocument/2006/relationships/slideMaster" Target="../slideMasters/slideMaster5.xml"/><Relationship Id="rId9" Type="http://schemas.microsoft.com/office/2007/relationships/hdphoto" Target="../media/hdphoto1.wdp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5626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8471921" y="1947872"/>
            <a:ext cx="580573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2914D58-6069-4C80-9CC3-B8378A6E95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700" y="-1"/>
            <a:ext cx="12204700" cy="5271808"/>
          </a:xfrm>
          <a:prstGeom prst="rect">
            <a:avLst/>
          </a:prstGeom>
        </p:spPr>
      </p:pic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6" name="Rectangle 15"/>
          <p:cNvSpPr/>
          <p:nvPr userDrawn="1"/>
        </p:nvSpPr>
        <p:spPr bwMode="black">
          <a:xfrm>
            <a:off x="630936" y="1122820"/>
            <a:ext cx="7395464" cy="5032979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85000"/>
                </a:schemeClr>
              </a:gs>
              <a:gs pos="100000">
                <a:schemeClr val="tx2">
                  <a:alpha val="85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3703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3703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2303507"/>
            <a:ext cx="6370300" cy="272115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600" y="1243861"/>
            <a:ext cx="867048" cy="867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67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8471921" y="1947872"/>
            <a:ext cx="580573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3FFC546-5ACC-48CD-98A6-CF152BF73F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7088" b="18004"/>
          <a:stretch/>
        </p:blipFill>
        <p:spPr>
          <a:xfrm>
            <a:off x="-12700" y="-1"/>
            <a:ext cx="12204700" cy="5271808"/>
          </a:xfrm>
          <a:prstGeom prst="rect">
            <a:avLst/>
          </a:prstGeom>
        </p:spPr>
      </p:pic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6" name="Rectangle 15"/>
          <p:cNvSpPr/>
          <p:nvPr userDrawn="1"/>
        </p:nvSpPr>
        <p:spPr bwMode="black">
          <a:xfrm>
            <a:off x="630936" y="1122820"/>
            <a:ext cx="7395464" cy="5032979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85000"/>
                </a:schemeClr>
              </a:gs>
              <a:gs pos="100000">
                <a:schemeClr val="tx2">
                  <a:alpha val="85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3703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3703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2303507"/>
            <a:ext cx="6370300" cy="272115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600" y="1243861"/>
            <a:ext cx="867048" cy="867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12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6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30000" y="2676598"/>
            <a:ext cx="10933349" cy="64093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40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Insert Title of Brief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3329429"/>
            <a:ext cx="10933349" cy="3271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8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DAY MONTH YEAR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630000" y="3662543"/>
            <a:ext cx="10933349" cy="23678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0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Presented to: External Stakeholder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30000" y="3903728"/>
            <a:ext cx="10933349" cy="225974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05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en-US" dirty="0"/>
              <a:t>Presented by: RDML Mike Zarkowski, Commander, Fleet Readiness Centers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63552"/>
            <a:ext cx="12192000" cy="0"/>
          </a:xfrm>
          <a:prstGeom prst="line">
            <a:avLst/>
          </a:prstGeom>
          <a:ln>
            <a:solidFill>
              <a:srgbClr val="D9D9D9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9282695" y="6581001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 userDrawn="1"/>
        </p:nvSpPr>
        <p:spPr>
          <a:xfrm>
            <a:off x="5070463" y="6595262"/>
            <a:ext cx="1808508" cy="276999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r>
              <a:rPr lang="en-US" sz="1200" b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FOR OFFICIAL USE ONLY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09" y="73796"/>
            <a:ext cx="1693548" cy="1396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386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0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1332465" y="6423773"/>
            <a:ext cx="295275" cy="171450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681495" y="6647276"/>
            <a:ext cx="234401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 defTabSz="1125106">
              <a:defRPr/>
            </a:pPr>
            <a:fld id="{9D53E389-1311-4796-9190-1F74A8EADEA2}" type="slidenum">
              <a:rPr lang="en-US" sz="10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algn="r" defTabSz="1125106"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563552"/>
            <a:ext cx="12188825" cy="0"/>
          </a:xfrm>
          <a:prstGeom prst="line">
            <a:avLst/>
          </a:prstGeom>
          <a:ln>
            <a:solidFill>
              <a:srgbClr val="D9D9D9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5077618" y="6595223"/>
            <a:ext cx="20335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FOR OFFICIAL USE ONLY</a:t>
            </a:r>
          </a:p>
        </p:txBody>
      </p:sp>
      <p:sp>
        <p:nvSpPr>
          <p:cNvPr id="16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50500"/>
            <a:ext cx="10933200" cy="4431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8521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4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11332465" y="6423773"/>
            <a:ext cx="295275" cy="171450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681495" y="6647276"/>
            <a:ext cx="234401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 defTabSz="1125106">
              <a:defRPr/>
            </a:pPr>
            <a:fld id="{9D53E389-1311-4796-9190-1F74A8EADEA2}" type="slidenum">
              <a:rPr lang="en-US" sz="10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algn="r" defTabSz="1125106"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563552"/>
            <a:ext cx="12188825" cy="0"/>
          </a:xfrm>
          <a:prstGeom prst="line">
            <a:avLst/>
          </a:prstGeom>
          <a:ln>
            <a:solidFill>
              <a:srgbClr val="D9D9D9"/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 userDrawn="1"/>
        </p:nvSpPr>
        <p:spPr>
          <a:xfrm>
            <a:off x="5077618" y="6595223"/>
            <a:ext cx="20335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FOR OFFICIAL USE ONLY</a:t>
            </a:r>
          </a:p>
        </p:txBody>
      </p:sp>
    </p:spTree>
    <p:extLst>
      <p:ext uri="{BB962C8B-B14F-4D97-AF65-F5344CB8AC3E}">
        <p14:creationId xmlns:p14="http://schemas.microsoft.com/office/powerpoint/2010/main" val="2237101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8" y="-124108"/>
            <a:ext cx="12208206" cy="185558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394953" y="1054837"/>
            <a:ext cx="8168246" cy="443198"/>
          </a:xfrm>
          <a:prstGeom prst="rect">
            <a:avLst/>
          </a:prstGeom>
        </p:spPr>
        <p:txBody>
          <a:bodyPr vert="horz" wrap="square" lIns="9144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08089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15747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6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15" name="Object 1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50500"/>
            <a:ext cx="10933200" cy="4431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lang="en-US" sz="3200" b="1" i="0" u="none" kern="1200" spc="0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30000" y="1782618"/>
            <a:ext cx="10933200" cy="4433455"/>
          </a:xfrm>
        </p:spPr>
        <p:txBody>
          <a:bodyPr lIns="91440" tIns="45720" rIns="91440" bIns="45720"/>
          <a:lstStyle>
            <a:lvl1pPr>
              <a:defRPr sz="2000"/>
            </a:lvl1pPr>
          </a:lstStyle>
          <a:p>
            <a:pPr lvl="0"/>
            <a:r>
              <a:rPr lang="en-US" dirty="0"/>
              <a:t>Size 20 font</a:t>
            </a:r>
          </a:p>
        </p:txBody>
      </p:sp>
    </p:spTree>
    <p:extLst>
      <p:ext uri="{BB962C8B-B14F-4D97-AF65-F5344CB8AC3E}">
        <p14:creationId xmlns:p14="http://schemas.microsoft.com/office/powerpoint/2010/main" val="2531057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lang="en-US" sz="3200" b="1" i="0" u="none" kern="1200" spc="0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30749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4337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08576" y="1616617"/>
            <a:ext cx="4061825" cy="4351338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600"/>
              </a:spcAft>
              <a:buClr>
                <a:srgbClr val="002A7E"/>
              </a:buClr>
              <a:buSzTx/>
              <a:buFontTx/>
              <a:buNone/>
              <a:tabLst/>
              <a:defRPr sz="1100"/>
            </a:lvl1pPr>
            <a:lvl2pPr marL="225425" indent="0">
              <a:buFontTx/>
              <a:buNone/>
              <a:defRPr sz="1100"/>
            </a:lvl2pPr>
            <a:lvl3pPr marL="460375" indent="0">
              <a:buFontTx/>
              <a:buNone/>
              <a:defRPr sz="1100"/>
            </a:lvl3pPr>
            <a:lvl4pPr marL="627063" indent="0">
              <a:buFontTx/>
              <a:buNone/>
              <a:defRPr sz="1100"/>
            </a:lvl4pPr>
            <a:lvl5pPr marL="798513" indent="0">
              <a:buFontTx/>
              <a:buNone/>
              <a:defRPr sz="1100"/>
            </a:lvl5pPr>
          </a:lstStyle>
          <a:p>
            <a:pPr marL="0" marR="0" lvl="0" indent="0" algn="l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600"/>
              </a:spcAft>
              <a:buClr>
                <a:srgbClr val="002A7E"/>
              </a:buClr>
              <a:buSzTx/>
              <a:buFontTx/>
              <a:buNone/>
              <a:tabLst/>
              <a:defRPr/>
            </a:pPr>
            <a:r>
              <a:rPr lang="en-US" alt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Click here to edit text. This is a sample text box. Regular text should be 11 pt. Arial.  Click here to edit text. This is a sample text box. 11 pt. Arial.  Click here to edit text. 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0"/>
          </p:nvPr>
        </p:nvSpPr>
        <p:spPr>
          <a:xfrm>
            <a:off x="4828902" y="1616617"/>
            <a:ext cx="6956697" cy="4351338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445240" y="6480091"/>
            <a:ext cx="672872" cy="368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432D09-116F-4781-84DB-B2C773F5F21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2243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4379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lang="en-US" sz="3200" b="1" i="0" u="none" kern="1200" spc="0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63455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lang="en-US" sz="3200" b="1" i="0" u="none" kern="1200" spc="0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11532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13350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66122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48910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 baseline="0">
                <a:solidFill>
                  <a:srgbClr val="00206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9006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2060"/>
              </a:gs>
              <a:gs pos="100000">
                <a:srgbClr val="0F2239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="1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470819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0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rgbClr val="00206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88659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2060"/>
              </a:gs>
              <a:gs pos="100000">
                <a:srgbClr val="0F2239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18859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460205" y="798843"/>
            <a:ext cx="7893595" cy="369332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40318" y="1681163"/>
            <a:ext cx="5158316" cy="823912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400" b="0" baseline="0">
                <a:solidFill>
                  <a:schemeClr val="tx1">
                    <a:lumMod val="50000"/>
                    <a:lumOff val="50000"/>
                  </a:schemeClr>
                </a:solidFill>
                <a:latin typeface="Arial Bold" panose="020B0704020202020204" pitchFamily="34" charset="0"/>
                <a:cs typeface="Arial Bold" panose="020B07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here to edit Subhead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318" y="2104475"/>
            <a:ext cx="5158316" cy="368458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6385984" y="1681163"/>
            <a:ext cx="4967816" cy="41084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445240" y="6480091"/>
            <a:ext cx="672872" cy="368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432D09-116F-4781-84DB-B2C773F5F21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1950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1740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2060"/>
              </a:gs>
              <a:gs pos="100000">
                <a:srgbClr val="0F2239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03709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579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060"/>
              </a:gs>
              <a:gs pos="100000">
                <a:srgbClr val="0F2239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431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2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01925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4066967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789155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00B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2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07072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43198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22506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72487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9688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445240" y="6480091"/>
            <a:ext cx="672872" cy="368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432D09-116F-4781-84DB-B2C773F5F21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82353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75679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xxxx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76597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43198"/>
          </a:xfrm>
        </p:spPr>
        <p:txBody>
          <a:bodyPr/>
          <a:lstStyle>
            <a:lvl1pPr>
              <a:defRPr sz="3200" b="1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83970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43198"/>
          </a:xfrm>
        </p:spPr>
        <p:txBody>
          <a:bodyPr/>
          <a:lstStyle>
            <a:lvl1pPr>
              <a:defRPr sz="3200" b="1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30000" y="1782618"/>
            <a:ext cx="10933200" cy="4433455"/>
          </a:xfrm>
        </p:spPr>
        <p:txBody>
          <a:bodyPr lIns="91440" tIns="45720" rIns="91440" bIns="45720"/>
          <a:lstStyle>
            <a:lvl1pPr>
              <a:defRPr sz="2000"/>
            </a:lvl1pPr>
          </a:lstStyle>
          <a:p>
            <a:pPr lvl="0"/>
            <a:r>
              <a:rPr lang="en-US" dirty="0"/>
              <a:t>Size 20 font</a:t>
            </a:r>
          </a:p>
        </p:txBody>
      </p:sp>
    </p:spTree>
    <p:extLst>
      <p:ext uri="{BB962C8B-B14F-4D97-AF65-F5344CB8AC3E}">
        <p14:creationId xmlns:p14="http://schemas.microsoft.com/office/powerpoint/2010/main" val="4233634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Clien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8709"/>
            <a:ext cx="8925059" cy="131609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25059" y="0"/>
            <a:ext cx="3271234" cy="1307388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569779" y="661901"/>
            <a:ext cx="8993420" cy="443198"/>
          </a:xfrm>
        </p:spPr>
        <p:txBody>
          <a:bodyPr anchor="b"/>
          <a:lstStyle>
            <a:lvl1pPr>
              <a:defRPr sz="3200" b="1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638175" y="1062038"/>
            <a:ext cx="1385888" cy="100012"/>
          </a:xfrm>
          <a:prstGeom prst="rect">
            <a:avLst/>
          </a:prstGeom>
          <a:solidFill>
            <a:srgbClr val="12284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724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5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002060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3200" b="1">
                <a:solidFill>
                  <a:srgbClr val="00206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31008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69152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00206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6152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rgbClr val="00206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0883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443198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43641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445240" y="6480091"/>
            <a:ext cx="672872" cy="368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432D09-116F-4781-84DB-B2C773F5F21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09062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443198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5061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6914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2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5602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73400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74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rgbClr val="00206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719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9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2060"/>
              </a:gs>
              <a:gs pos="100000">
                <a:srgbClr val="0F2239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97347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2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rgbClr val="00206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4949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2060"/>
              </a:gs>
              <a:gs pos="100000">
                <a:srgbClr val="0F2239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34664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443198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9269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002060"/>
              </a:gs>
              <a:gs pos="100000">
                <a:srgbClr val="0F2239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443198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854488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itime Map Slide_revFeb20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 bwMode="auto">
          <a:xfrm>
            <a:off x="1609433" y="3060361"/>
            <a:ext cx="1353648" cy="1491967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 userDrawn="1"/>
        </p:nvSpPr>
        <p:spPr bwMode="auto">
          <a:xfrm>
            <a:off x="1921993" y="3466834"/>
            <a:ext cx="550628" cy="12938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600" b="1" dirty="0"/>
          </a:p>
        </p:txBody>
      </p:sp>
      <p:sp>
        <p:nvSpPr>
          <p:cNvPr id="16" name="TextBox 210"/>
          <p:cNvSpPr txBox="1">
            <a:spLocks noChangeArrowheads="1"/>
          </p:cNvSpPr>
          <p:nvPr userDrawn="1"/>
        </p:nvSpPr>
        <p:spPr bwMode="auto">
          <a:xfrm>
            <a:off x="1870100" y="3444563"/>
            <a:ext cx="649183" cy="178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sz="563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 Diego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19857" y="4374867"/>
            <a:ext cx="659695" cy="14853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600" b="1" dirty="0"/>
          </a:p>
        </p:txBody>
      </p:sp>
      <p:sp>
        <p:nvSpPr>
          <p:cNvPr id="42" name="TextBox 210"/>
          <p:cNvSpPr txBox="1">
            <a:spLocks noChangeArrowheads="1"/>
          </p:cNvSpPr>
          <p:nvPr userDrawn="1"/>
        </p:nvSpPr>
        <p:spPr bwMode="auto">
          <a:xfrm>
            <a:off x="905541" y="4361528"/>
            <a:ext cx="906290" cy="178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sz="563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arl Harbor</a:t>
            </a:r>
          </a:p>
        </p:txBody>
      </p:sp>
      <p:sp>
        <p:nvSpPr>
          <p:cNvPr id="190" name="Oval 189"/>
          <p:cNvSpPr/>
          <p:nvPr userDrawn="1"/>
        </p:nvSpPr>
        <p:spPr bwMode="auto">
          <a:xfrm>
            <a:off x="2558735" y="3053497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92" name="Oval 191"/>
          <p:cNvSpPr/>
          <p:nvPr userDrawn="1"/>
        </p:nvSpPr>
        <p:spPr bwMode="auto">
          <a:xfrm>
            <a:off x="2501441" y="2981039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93" name="Oval 192"/>
          <p:cNvSpPr/>
          <p:nvPr userDrawn="1"/>
        </p:nvSpPr>
        <p:spPr bwMode="auto">
          <a:xfrm>
            <a:off x="2403656" y="3011818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89" name="Oval 188"/>
          <p:cNvSpPr/>
          <p:nvPr userDrawn="1"/>
        </p:nvSpPr>
        <p:spPr bwMode="auto">
          <a:xfrm>
            <a:off x="2458217" y="3341505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85" name="Oval 184"/>
          <p:cNvSpPr/>
          <p:nvPr userDrawn="1"/>
        </p:nvSpPr>
        <p:spPr bwMode="auto">
          <a:xfrm>
            <a:off x="2727375" y="3522491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86" name="Oval 185"/>
          <p:cNvSpPr/>
          <p:nvPr userDrawn="1"/>
        </p:nvSpPr>
        <p:spPr bwMode="auto">
          <a:xfrm>
            <a:off x="2633572" y="3551428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87" name="Oval 186"/>
          <p:cNvSpPr/>
          <p:nvPr userDrawn="1"/>
        </p:nvSpPr>
        <p:spPr bwMode="auto">
          <a:xfrm>
            <a:off x="2679318" y="3475070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88" name="Oval 187"/>
          <p:cNvSpPr/>
          <p:nvPr userDrawn="1"/>
        </p:nvSpPr>
        <p:spPr bwMode="auto">
          <a:xfrm>
            <a:off x="2572129" y="3473202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76" name="Oval 175"/>
          <p:cNvSpPr/>
          <p:nvPr userDrawn="1"/>
        </p:nvSpPr>
        <p:spPr bwMode="auto">
          <a:xfrm>
            <a:off x="3924321" y="3369737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77" name="Oval 176"/>
          <p:cNvSpPr/>
          <p:nvPr userDrawn="1"/>
        </p:nvSpPr>
        <p:spPr bwMode="auto">
          <a:xfrm>
            <a:off x="3943336" y="3322253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78" name="Oval 177"/>
          <p:cNvSpPr/>
          <p:nvPr userDrawn="1"/>
        </p:nvSpPr>
        <p:spPr bwMode="auto">
          <a:xfrm>
            <a:off x="3987114" y="3289876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79" name="Oval 178"/>
          <p:cNvSpPr/>
          <p:nvPr userDrawn="1"/>
        </p:nvSpPr>
        <p:spPr bwMode="auto">
          <a:xfrm>
            <a:off x="4040461" y="3261762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80" name="Oval 179"/>
          <p:cNvSpPr/>
          <p:nvPr userDrawn="1"/>
        </p:nvSpPr>
        <p:spPr bwMode="auto">
          <a:xfrm>
            <a:off x="4177019" y="3227418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73" name="Oval 172"/>
          <p:cNvSpPr/>
          <p:nvPr userDrawn="1"/>
        </p:nvSpPr>
        <p:spPr bwMode="auto">
          <a:xfrm>
            <a:off x="4011101" y="3486597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74" name="Oval 173"/>
          <p:cNvSpPr/>
          <p:nvPr userDrawn="1"/>
        </p:nvSpPr>
        <p:spPr bwMode="auto">
          <a:xfrm>
            <a:off x="3970226" y="3446578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75" name="Oval 174"/>
          <p:cNvSpPr/>
          <p:nvPr userDrawn="1"/>
        </p:nvSpPr>
        <p:spPr bwMode="auto">
          <a:xfrm>
            <a:off x="4091107" y="3418425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69" name="Oval 168"/>
          <p:cNvSpPr/>
          <p:nvPr userDrawn="1"/>
        </p:nvSpPr>
        <p:spPr bwMode="auto">
          <a:xfrm>
            <a:off x="3703775" y="3347359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70" name="Oval 169"/>
          <p:cNvSpPr/>
          <p:nvPr userDrawn="1"/>
        </p:nvSpPr>
        <p:spPr bwMode="auto">
          <a:xfrm>
            <a:off x="3693872" y="3257957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71" name="Oval 170"/>
          <p:cNvSpPr/>
          <p:nvPr userDrawn="1"/>
        </p:nvSpPr>
        <p:spPr bwMode="auto">
          <a:xfrm>
            <a:off x="3567039" y="3152344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63" name="Oval 162"/>
          <p:cNvSpPr/>
          <p:nvPr userDrawn="1"/>
        </p:nvSpPr>
        <p:spPr bwMode="auto">
          <a:xfrm>
            <a:off x="3588341" y="3613423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64" name="Oval 163"/>
          <p:cNvSpPr/>
          <p:nvPr userDrawn="1"/>
        </p:nvSpPr>
        <p:spPr bwMode="auto">
          <a:xfrm>
            <a:off x="3512788" y="3622409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65" name="Oval 164"/>
          <p:cNvSpPr/>
          <p:nvPr userDrawn="1"/>
        </p:nvSpPr>
        <p:spPr bwMode="auto">
          <a:xfrm>
            <a:off x="3447243" y="3610014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66" name="Oval 165"/>
          <p:cNvSpPr/>
          <p:nvPr userDrawn="1"/>
        </p:nvSpPr>
        <p:spPr bwMode="auto">
          <a:xfrm>
            <a:off x="3375898" y="3627198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67" name="Oval 166"/>
          <p:cNvSpPr/>
          <p:nvPr userDrawn="1"/>
        </p:nvSpPr>
        <p:spPr bwMode="auto">
          <a:xfrm>
            <a:off x="3357818" y="3671049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68" name="Oval 167"/>
          <p:cNvSpPr/>
          <p:nvPr userDrawn="1"/>
        </p:nvSpPr>
        <p:spPr bwMode="auto">
          <a:xfrm>
            <a:off x="3308035" y="3558767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61" name="Oval 160"/>
          <p:cNvSpPr/>
          <p:nvPr userDrawn="1"/>
        </p:nvSpPr>
        <p:spPr bwMode="auto">
          <a:xfrm>
            <a:off x="3800696" y="3572485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62" name="Oval 161"/>
          <p:cNvSpPr/>
          <p:nvPr userDrawn="1"/>
        </p:nvSpPr>
        <p:spPr bwMode="auto">
          <a:xfrm>
            <a:off x="3702924" y="3588151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4040974" y="3637235"/>
            <a:ext cx="628095" cy="11696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600" b="1" dirty="0"/>
          </a:p>
        </p:txBody>
      </p:sp>
      <p:sp>
        <p:nvSpPr>
          <p:cNvPr id="18" name="Rectangle 17"/>
          <p:cNvSpPr/>
          <p:nvPr/>
        </p:nvSpPr>
        <p:spPr bwMode="auto">
          <a:xfrm>
            <a:off x="4241225" y="3340634"/>
            <a:ext cx="718076" cy="113869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600" b="1" dirty="0"/>
          </a:p>
        </p:txBody>
      </p:sp>
      <p:sp>
        <p:nvSpPr>
          <p:cNvPr id="13" name="TextBox 210"/>
          <p:cNvSpPr txBox="1">
            <a:spLocks noChangeArrowheads="1"/>
          </p:cNvSpPr>
          <p:nvPr userDrawn="1"/>
        </p:nvSpPr>
        <p:spPr bwMode="auto">
          <a:xfrm>
            <a:off x="3971412" y="3606953"/>
            <a:ext cx="762411" cy="178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sz="563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cksonville</a:t>
            </a:r>
          </a:p>
        </p:txBody>
      </p:sp>
      <p:sp>
        <p:nvSpPr>
          <p:cNvPr id="19" name="TextBox 210"/>
          <p:cNvSpPr txBox="1">
            <a:spLocks noChangeArrowheads="1"/>
          </p:cNvSpPr>
          <p:nvPr/>
        </p:nvSpPr>
        <p:spPr bwMode="auto">
          <a:xfrm>
            <a:off x="4134121" y="3307605"/>
            <a:ext cx="939163" cy="178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sz="563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chanicsburg</a:t>
            </a:r>
            <a:endParaRPr lang="en-US" sz="563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6" name="Oval 155"/>
          <p:cNvSpPr/>
          <p:nvPr userDrawn="1"/>
        </p:nvSpPr>
        <p:spPr bwMode="auto">
          <a:xfrm>
            <a:off x="6487655" y="2835257"/>
            <a:ext cx="88658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57" name="Oval 156"/>
          <p:cNvSpPr/>
          <p:nvPr userDrawn="1"/>
        </p:nvSpPr>
        <p:spPr bwMode="auto">
          <a:xfrm>
            <a:off x="6574285" y="2820284"/>
            <a:ext cx="88658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58" name="Oval 157"/>
          <p:cNvSpPr/>
          <p:nvPr userDrawn="1"/>
        </p:nvSpPr>
        <p:spPr bwMode="auto">
          <a:xfrm>
            <a:off x="7163130" y="2681601"/>
            <a:ext cx="88658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53" name="Oval 152"/>
          <p:cNvSpPr/>
          <p:nvPr userDrawn="1"/>
        </p:nvSpPr>
        <p:spPr bwMode="auto">
          <a:xfrm>
            <a:off x="6491671" y="3291482"/>
            <a:ext cx="88658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54" name="Oval 153"/>
          <p:cNvSpPr/>
          <p:nvPr userDrawn="1"/>
        </p:nvSpPr>
        <p:spPr bwMode="auto">
          <a:xfrm>
            <a:off x="6404655" y="3407553"/>
            <a:ext cx="88658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55" name="Oval 154"/>
          <p:cNvSpPr/>
          <p:nvPr userDrawn="1"/>
        </p:nvSpPr>
        <p:spPr bwMode="auto">
          <a:xfrm>
            <a:off x="6309058" y="3355236"/>
            <a:ext cx="88658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52" name="Oval 151"/>
          <p:cNvSpPr/>
          <p:nvPr userDrawn="1"/>
        </p:nvSpPr>
        <p:spPr bwMode="auto">
          <a:xfrm>
            <a:off x="6897166" y="3286621"/>
            <a:ext cx="88658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46" name="Oval 145"/>
          <p:cNvSpPr/>
          <p:nvPr userDrawn="1"/>
        </p:nvSpPr>
        <p:spPr bwMode="auto">
          <a:xfrm>
            <a:off x="7408445" y="3130435"/>
            <a:ext cx="88658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43" name="Oval 142"/>
          <p:cNvSpPr/>
          <p:nvPr userDrawn="1"/>
        </p:nvSpPr>
        <p:spPr bwMode="auto">
          <a:xfrm>
            <a:off x="8551189" y="3852417"/>
            <a:ext cx="88658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11289779" y="3456388"/>
            <a:ext cx="627902" cy="173124"/>
            <a:chOff x="8536739" y="3233049"/>
            <a:chExt cx="660616" cy="173124"/>
          </a:xfrm>
        </p:grpSpPr>
        <p:sp>
          <p:nvSpPr>
            <p:cNvPr id="11" name="Rectangle 10"/>
            <p:cNvSpPr/>
            <p:nvPr userDrawn="1"/>
          </p:nvSpPr>
          <p:spPr bwMode="auto">
            <a:xfrm>
              <a:off x="8602722" y="3241815"/>
              <a:ext cx="536252" cy="149664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600" b="1" dirty="0"/>
            </a:p>
          </p:txBody>
        </p:sp>
        <p:sp>
          <p:nvSpPr>
            <p:cNvPr id="12" name="TextBox 210"/>
            <p:cNvSpPr txBox="1">
              <a:spLocks noChangeArrowheads="1"/>
            </p:cNvSpPr>
            <p:nvPr userDrawn="1"/>
          </p:nvSpPr>
          <p:spPr bwMode="auto">
            <a:xfrm>
              <a:off x="8536739" y="3233049"/>
              <a:ext cx="660616" cy="173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US" sz="525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okosuka</a:t>
              </a:r>
            </a:p>
          </p:txBody>
        </p:sp>
      </p:grpSp>
      <p:sp>
        <p:nvSpPr>
          <p:cNvPr id="6" name="Rectangle 5"/>
          <p:cNvSpPr/>
          <p:nvPr userDrawn="1"/>
        </p:nvSpPr>
        <p:spPr bwMode="auto">
          <a:xfrm>
            <a:off x="2149809" y="2816459"/>
            <a:ext cx="700547" cy="13335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600" b="1" dirty="0"/>
          </a:p>
        </p:txBody>
      </p:sp>
      <p:sp>
        <p:nvSpPr>
          <p:cNvPr id="15" name="TextBox 210"/>
          <p:cNvSpPr txBox="1">
            <a:spLocks noChangeArrowheads="1"/>
          </p:cNvSpPr>
          <p:nvPr userDrawn="1"/>
        </p:nvSpPr>
        <p:spPr bwMode="auto">
          <a:xfrm>
            <a:off x="2033815" y="2795379"/>
            <a:ext cx="929267" cy="173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sz="5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get Sound</a:t>
            </a:r>
          </a:p>
        </p:txBody>
      </p:sp>
      <p:cxnSp>
        <p:nvCxnSpPr>
          <p:cNvPr id="7" name="Straight Connector 6"/>
          <p:cNvCxnSpPr/>
          <p:nvPr userDrawn="1"/>
        </p:nvCxnSpPr>
        <p:spPr bwMode="auto">
          <a:xfrm>
            <a:off x="5178925" y="2193734"/>
            <a:ext cx="0" cy="1803164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/>
        </p:nvSpPr>
        <p:spPr bwMode="auto">
          <a:xfrm>
            <a:off x="4297862" y="3188272"/>
            <a:ext cx="693669" cy="107958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600" b="1" dirty="0"/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239690" y="3477696"/>
            <a:ext cx="848950" cy="120222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600" b="1" dirty="0"/>
          </a:p>
        </p:txBody>
      </p:sp>
      <p:sp>
        <p:nvSpPr>
          <p:cNvPr id="14" name="TextBox 210"/>
          <p:cNvSpPr txBox="1">
            <a:spLocks noChangeArrowheads="1"/>
          </p:cNvSpPr>
          <p:nvPr userDrawn="1"/>
        </p:nvSpPr>
        <p:spPr bwMode="auto">
          <a:xfrm>
            <a:off x="4230122" y="3450950"/>
            <a:ext cx="871688" cy="178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sz="563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folk/VA. Beach</a:t>
            </a:r>
          </a:p>
        </p:txBody>
      </p:sp>
      <p:sp>
        <p:nvSpPr>
          <p:cNvPr id="84" name="TextBox 210"/>
          <p:cNvSpPr txBox="1">
            <a:spLocks noChangeArrowheads="1"/>
          </p:cNvSpPr>
          <p:nvPr userDrawn="1"/>
        </p:nvSpPr>
        <p:spPr bwMode="auto">
          <a:xfrm>
            <a:off x="4261064" y="3155004"/>
            <a:ext cx="773909" cy="178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sz="563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iladelphia</a:t>
            </a: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6858936" y="3523849"/>
            <a:ext cx="573728" cy="137127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600" b="1" dirty="0"/>
          </a:p>
        </p:txBody>
      </p:sp>
      <p:sp>
        <p:nvSpPr>
          <p:cNvPr id="90" name="TextBox 210"/>
          <p:cNvSpPr txBox="1">
            <a:spLocks noChangeArrowheads="1"/>
          </p:cNvSpPr>
          <p:nvPr userDrawn="1"/>
        </p:nvSpPr>
        <p:spPr bwMode="auto">
          <a:xfrm>
            <a:off x="6754987" y="3501771"/>
            <a:ext cx="777305" cy="178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sz="563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onella</a:t>
            </a:r>
          </a:p>
        </p:txBody>
      </p:sp>
      <p:sp>
        <p:nvSpPr>
          <p:cNvPr id="131" name="Rectangle 130"/>
          <p:cNvSpPr/>
          <p:nvPr userDrawn="1"/>
        </p:nvSpPr>
        <p:spPr>
          <a:xfrm>
            <a:off x="1" y="6523024"/>
            <a:ext cx="12192000" cy="284693"/>
          </a:xfrm>
          <a:prstGeom prst="rect">
            <a:avLst/>
          </a:prstGeom>
          <a:gradFill flip="none" rotWithShape="1">
            <a:gsLst>
              <a:gs pos="17000">
                <a:srgbClr val="B5CACA"/>
              </a:gs>
              <a:gs pos="77000">
                <a:srgbClr val="12284B"/>
              </a:gs>
            </a:gsLst>
            <a:lin ang="0" scaled="0"/>
            <a:tileRect/>
          </a:gradFill>
        </p:spPr>
        <p:txBody>
          <a:bodyPr wrap="square">
            <a:spAutoFit/>
          </a:bodyPr>
          <a:lstStyle/>
          <a:p>
            <a:pPr algn="ctr">
              <a:lnSpc>
                <a:spcPts val="1500"/>
              </a:lnSpc>
              <a:spcBef>
                <a:spcPct val="20000"/>
              </a:spcBef>
              <a:buClr>
                <a:srgbClr val="003399"/>
              </a:buClr>
              <a:defRPr/>
            </a:pPr>
            <a:r>
              <a:rPr lang="en-US" sz="1125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VSUP is a Fleet-Focused Organization with Global Reach </a:t>
            </a:r>
            <a:endParaRPr lang="en-US" sz="1125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Straight Connector 19"/>
          <p:cNvCxnSpPr/>
          <p:nvPr userDrawn="1"/>
        </p:nvCxnSpPr>
        <p:spPr bwMode="auto">
          <a:xfrm>
            <a:off x="3979962" y="3916037"/>
            <a:ext cx="203503" cy="77707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5820249" y="4493539"/>
            <a:ext cx="0" cy="843316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flipH="1">
            <a:off x="3763853" y="3906349"/>
            <a:ext cx="222132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 bwMode="auto">
          <a:xfrm>
            <a:off x="11082314" y="3687539"/>
            <a:ext cx="13242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002C76"/>
                </a:solidFill>
                <a:latin typeface="Agency FB" panose="020B0503020202020204" pitchFamily="34" charset="0"/>
              </a:rPr>
              <a:t>USPACOM</a:t>
            </a:r>
          </a:p>
        </p:txBody>
      </p:sp>
      <p:sp>
        <p:nvSpPr>
          <p:cNvPr id="25" name="Line 40"/>
          <p:cNvSpPr>
            <a:spLocks noChangeShapeType="1"/>
          </p:cNvSpPr>
          <p:nvPr userDrawn="1"/>
        </p:nvSpPr>
        <p:spPr bwMode="auto">
          <a:xfrm flipH="1">
            <a:off x="2693694" y="5668829"/>
            <a:ext cx="6834675" cy="0"/>
          </a:xfrm>
          <a:prstGeom prst="line">
            <a:avLst/>
          </a:prstGeom>
          <a:noFill/>
          <a:ln w="28575" cap="sq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 sz="1350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2693694" y="5466938"/>
            <a:ext cx="6834675" cy="405075"/>
            <a:chOff x="1169695" y="5462326"/>
            <a:chExt cx="6834674" cy="405075"/>
          </a:xfrm>
        </p:grpSpPr>
        <p:sp>
          <p:nvSpPr>
            <p:cNvPr id="27" name="Line 43"/>
            <p:cNvSpPr>
              <a:spLocks noChangeShapeType="1"/>
            </p:cNvSpPr>
            <p:nvPr/>
          </p:nvSpPr>
          <p:spPr bwMode="auto">
            <a:xfrm flipH="1">
              <a:off x="4559300" y="5462326"/>
              <a:ext cx="0" cy="19691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350"/>
            </a:p>
          </p:txBody>
        </p:sp>
        <p:grpSp>
          <p:nvGrpSpPr>
            <p:cNvPr id="28" name="Group 126"/>
            <p:cNvGrpSpPr>
              <a:grpSpLocks/>
            </p:cNvGrpSpPr>
            <p:nvPr/>
          </p:nvGrpSpPr>
          <p:grpSpPr bwMode="auto">
            <a:xfrm>
              <a:off x="1169695" y="5664220"/>
              <a:ext cx="6834674" cy="203181"/>
              <a:chOff x="1045737" y="3605395"/>
              <a:chExt cx="6746489" cy="314506"/>
            </a:xfrm>
          </p:grpSpPr>
          <p:sp>
            <p:nvSpPr>
              <p:cNvPr id="29" name="Line 43"/>
              <p:cNvSpPr>
                <a:spLocks noChangeShapeType="1"/>
              </p:cNvSpPr>
              <p:nvPr/>
            </p:nvSpPr>
            <p:spPr bwMode="auto">
              <a:xfrm flipH="1">
                <a:off x="1045737" y="3605395"/>
                <a:ext cx="0" cy="304802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1350"/>
              </a:p>
            </p:txBody>
          </p:sp>
          <p:sp>
            <p:nvSpPr>
              <p:cNvPr id="30" name="Line 43"/>
              <p:cNvSpPr>
                <a:spLocks noChangeShapeType="1"/>
              </p:cNvSpPr>
              <p:nvPr/>
            </p:nvSpPr>
            <p:spPr bwMode="auto">
              <a:xfrm flipH="1">
                <a:off x="3284070" y="3615102"/>
                <a:ext cx="0" cy="304799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1350"/>
              </a:p>
            </p:txBody>
          </p:sp>
          <p:sp>
            <p:nvSpPr>
              <p:cNvPr id="31" name="Line 43"/>
              <p:cNvSpPr>
                <a:spLocks noChangeShapeType="1"/>
              </p:cNvSpPr>
              <p:nvPr/>
            </p:nvSpPr>
            <p:spPr bwMode="auto">
              <a:xfrm flipH="1">
                <a:off x="5512808" y="3615102"/>
                <a:ext cx="0" cy="304799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1350"/>
              </a:p>
            </p:txBody>
          </p:sp>
          <p:sp>
            <p:nvSpPr>
              <p:cNvPr id="32" name="Line 43"/>
              <p:cNvSpPr>
                <a:spLocks noChangeShapeType="1"/>
              </p:cNvSpPr>
              <p:nvPr/>
            </p:nvSpPr>
            <p:spPr bwMode="auto">
              <a:xfrm flipH="1">
                <a:off x="7792226" y="3605395"/>
                <a:ext cx="0" cy="304799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en-US" sz="1350"/>
              </a:p>
            </p:txBody>
          </p:sp>
        </p:grpSp>
      </p:grpSp>
      <p:sp>
        <p:nvSpPr>
          <p:cNvPr id="33" name="Rounded Rectangle 32"/>
          <p:cNvSpPr/>
          <p:nvPr userDrawn="1"/>
        </p:nvSpPr>
        <p:spPr bwMode="auto">
          <a:xfrm>
            <a:off x="1685603" y="5808387"/>
            <a:ext cx="2011680" cy="525098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12700">
            <a:solidFill>
              <a:srgbClr val="61A1D5"/>
            </a:solidFill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8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VSUP </a:t>
            </a:r>
          </a:p>
          <a:p>
            <a:pPr algn="ctr" eaLnBrk="0" hangingPunct="0">
              <a:lnSpc>
                <a:spcPct val="90000"/>
              </a:lnSpc>
              <a:defRPr/>
            </a:pPr>
            <a:r>
              <a:rPr lang="en-US" sz="8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apon Systems Support</a:t>
            </a:r>
          </a:p>
          <a:p>
            <a:pPr algn="ctr" eaLnBrk="0" hangingPunct="0">
              <a:lnSpc>
                <a:spcPct val="90000"/>
              </a:lnSpc>
              <a:defRPr/>
            </a:pPr>
            <a:r>
              <a:rPr lang="en-US" sz="8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SS)</a:t>
            </a:r>
          </a:p>
        </p:txBody>
      </p:sp>
      <p:sp>
        <p:nvSpPr>
          <p:cNvPr id="34" name="Rounded Rectangle 33"/>
          <p:cNvSpPr/>
          <p:nvPr userDrawn="1"/>
        </p:nvSpPr>
        <p:spPr bwMode="auto">
          <a:xfrm>
            <a:off x="3943135" y="5808390"/>
            <a:ext cx="2011680" cy="525097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12700">
            <a:solidFill>
              <a:srgbClr val="61A1D5"/>
            </a:solidFill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8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VSUP </a:t>
            </a:r>
          </a:p>
          <a:p>
            <a:pPr algn="ctr" eaLnBrk="0" hangingPunct="0">
              <a:lnSpc>
                <a:spcPct val="90000"/>
              </a:lnSpc>
              <a:defRPr/>
            </a:pPr>
            <a:r>
              <a:rPr lang="en-US" sz="8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eet Logistics Centers</a:t>
            </a:r>
          </a:p>
          <a:p>
            <a:pPr algn="ctr" eaLnBrk="0" hangingPunct="0">
              <a:lnSpc>
                <a:spcPct val="90000"/>
              </a:lnSpc>
              <a:defRPr/>
            </a:pPr>
            <a:r>
              <a:rPr lang="en-US" sz="8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FLC)</a:t>
            </a:r>
          </a:p>
        </p:txBody>
      </p:sp>
      <p:sp>
        <p:nvSpPr>
          <p:cNvPr id="35" name="Rounded Rectangle 34"/>
          <p:cNvSpPr/>
          <p:nvPr userDrawn="1"/>
        </p:nvSpPr>
        <p:spPr bwMode="auto">
          <a:xfrm>
            <a:off x="6200667" y="5808387"/>
            <a:ext cx="2063359" cy="525096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12700">
            <a:solidFill>
              <a:srgbClr val="61A1D5"/>
            </a:solidFill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8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VSUP</a:t>
            </a:r>
            <a:r>
              <a:rPr lang="en-US" sz="825" b="1" dirty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 </a:t>
            </a:r>
          </a:p>
          <a:p>
            <a:pPr algn="ctr" eaLnBrk="0" hangingPunct="0">
              <a:lnSpc>
                <a:spcPct val="90000"/>
              </a:lnSpc>
              <a:defRPr/>
            </a:pPr>
            <a:r>
              <a:rPr lang="en-US" sz="8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Systems </a:t>
            </a:r>
            <a:r>
              <a:rPr lang="en-US" sz="825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er </a:t>
            </a:r>
          </a:p>
          <a:p>
            <a:pPr algn="ctr" eaLnBrk="0" hangingPunct="0">
              <a:lnSpc>
                <a:spcPct val="90000"/>
              </a:lnSpc>
              <a:defRPr/>
            </a:pPr>
            <a:r>
              <a:rPr lang="en-US" sz="825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BSC)</a:t>
            </a:r>
            <a:endParaRPr lang="en-US" sz="825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ounded Rectangle 35"/>
          <p:cNvSpPr/>
          <p:nvPr userDrawn="1"/>
        </p:nvSpPr>
        <p:spPr bwMode="auto">
          <a:xfrm>
            <a:off x="8458200" y="5808390"/>
            <a:ext cx="2011680" cy="525097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12700">
            <a:solidFill>
              <a:srgbClr val="61A1D5"/>
            </a:solidFill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lnSpc>
                <a:spcPct val="90000"/>
              </a:lnSpc>
              <a:defRPr/>
            </a:pPr>
            <a:r>
              <a:rPr lang="en-US" sz="8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vy Exchange Service Command</a:t>
            </a:r>
          </a:p>
          <a:p>
            <a:pPr algn="ctr" eaLnBrk="0" hangingPunct="0">
              <a:lnSpc>
                <a:spcPct val="90000"/>
              </a:lnSpc>
              <a:defRPr/>
            </a:pPr>
            <a:r>
              <a:rPr lang="en-US" sz="8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EXCOM)</a:t>
            </a:r>
          </a:p>
        </p:txBody>
      </p:sp>
      <p:sp>
        <p:nvSpPr>
          <p:cNvPr id="37" name="Rounded Rectangle 36"/>
          <p:cNvSpPr/>
          <p:nvPr userDrawn="1"/>
        </p:nvSpPr>
        <p:spPr bwMode="auto">
          <a:xfrm>
            <a:off x="4267201" y="5201883"/>
            <a:ext cx="3643972" cy="309562"/>
          </a:xfrm>
          <a:prstGeom prst="roundRect">
            <a:avLst/>
          </a:prstGeom>
          <a:solidFill>
            <a:srgbClr val="12284B"/>
          </a:solidFill>
          <a:ln w="0"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val Supply Systems Command</a:t>
            </a:r>
            <a:endParaRPr lang="en-US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8" name="Elbow Connector 37"/>
          <p:cNvCxnSpPr/>
          <p:nvPr userDrawn="1"/>
        </p:nvCxnSpPr>
        <p:spPr>
          <a:xfrm flipV="1">
            <a:off x="4459236" y="3993744"/>
            <a:ext cx="1563269" cy="125072"/>
          </a:xfrm>
          <a:prstGeom prst="bentConnector3">
            <a:avLst>
              <a:gd name="adj1" fmla="val 1837"/>
            </a:avLst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8792729" y="3847764"/>
            <a:ext cx="0" cy="1716582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 userDrawn="1"/>
        </p:nvSpPr>
        <p:spPr bwMode="auto">
          <a:xfrm>
            <a:off x="3660080" y="4848414"/>
            <a:ext cx="2047211" cy="27699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002C76"/>
                </a:solidFill>
                <a:latin typeface="Agency FB" panose="020B0503020202020204" pitchFamily="34" charset="0"/>
              </a:rPr>
              <a:t>USSOUTHCOM</a:t>
            </a:r>
          </a:p>
        </p:txBody>
      </p:sp>
      <p:sp>
        <p:nvSpPr>
          <p:cNvPr id="45" name="TextBox 44"/>
          <p:cNvSpPr txBox="1"/>
          <p:nvPr userDrawn="1"/>
        </p:nvSpPr>
        <p:spPr bwMode="auto">
          <a:xfrm>
            <a:off x="706029" y="5336857"/>
            <a:ext cx="1777735" cy="27699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002C76"/>
                </a:solidFill>
                <a:latin typeface="Agency FB" panose="020B0503020202020204" pitchFamily="34" charset="0"/>
              </a:rPr>
              <a:t>USPACOM</a:t>
            </a:r>
          </a:p>
        </p:txBody>
      </p:sp>
      <p:sp>
        <p:nvSpPr>
          <p:cNvPr id="46" name="TextBox 45"/>
          <p:cNvSpPr txBox="1"/>
          <p:nvPr userDrawn="1"/>
        </p:nvSpPr>
        <p:spPr bwMode="auto">
          <a:xfrm>
            <a:off x="5900858" y="1428430"/>
            <a:ext cx="1777735" cy="27699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002C76"/>
                </a:solidFill>
                <a:latin typeface="Agency FB" panose="020B0503020202020204" pitchFamily="34" charset="0"/>
              </a:rPr>
              <a:t>USEUCOM</a:t>
            </a:r>
            <a:endParaRPr lang="en-US" sz="1050" b="1" dirty="0">
              <a:solidFill>
                <a:srgbClr val="002C76"/>
              </a:solidFill>
              <a:latin typeface="Agency FB" panose="020B0503020202020204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 bwMode="auto">
          <a:xfrm>
            <a:off x="6254790" y="4220794"/>
            <a:ext cx="1777735" cy="27699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002C76"/>
                </a:solidFill>
                <a:latin typeface="Agency FB" panose="020B0503020202020204" pitchFamily="34" charset="0"/>
              </a:rPr>
              <a:t>USAFRICOM</a:t>
            </a:r>
            <a:endParaRPr lang="en-US" sz="1050" b="1" dirty="0">
              <a:solidFill>
                <a:srgbClr val="002C76"/>
              </a:solidFill>
              <a:latin typeface="Agency FB" panose="020B0503020202020204" pitchFamily="34" charset="0"/>
            </a:endParaRPr>
          </a:p>
        </p:txBody>
      </p:sp>
      <p:cxnSp>
        <p:nvCxnSpPr>
          <p:cNvPr id="48" name="Straight Connector 47"/>
          <p:cNvCxnSpPr/>
          <p:nvPr userDrawn="1"/>
        </p:nvCxnSpPr>
        <p:spPr bwMode="auto">
          <a:xfrm flipV="1">
            <a:off x="8927299" y="1284269"/>
            <a:ext cx="0" cy="30969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 userDrawn="1"/>
        </p:nvCxnSpPr>
        <p:spPr bwMode="auto">
          <a:xfrm>
            <a:off x="3517027" y="4543092"/>
            <a:ext cx="0" cy="1065765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 bwMode="auto">
          <a:xfrm>
            <a:off x="5636391" y="3994238"/>
            <a:ext cx="0" cy="517738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auto">
          <a:xfrm>
            <a:off x="2" y="3065266"/>
            <a:ext cx="1615143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 userDrawn="1"/>
        </p:nvCxnSpPr>
        <p:spPr bwMode="auto">
          <a:xfrm>
            <a:off x="2942126" y="4552327"/>
            <a:ext cx="571343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4" name="Oval 73"/>
          <p:cNvSpPr/>
          <p:nvPr userDrawn="1"/>
        </p:nvSpPr>
        <p:spPr bwMode="auto">
          <a:xfrm>
            <a:off x="3944623" y="3318581"/>
            <a:ext cx="81084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grpSp>
        <p:nvGrpSpPr>
          <p:cNvPr id="98" name="Group 97"/>
          <p:cNvGrpSpPr/>
          <p:nvPr userDrawn="1"/>
        </p:nvGrpSpPr>
        <p:grpSpPr>
          <a:xfrm>
            <a:off x="8602540" y="3687538"/>
            <a:ext cx="547331" cy="178960"/>
            <a:chOff x="3115574" y="2769303"/>
            <a:chExt cx="506240" cy="172577"/>
          </a:xfrm>
        </p:grpSpPr>
        <p:sp>
          <p:nvSpPr>
            <p:cNvPr id="99" name="Rectangle 98"/>
            <p:cNvSpPr/>
            <p:nvPr/>
          </p:nvSpPr>
          <p:spPr bwMode="auto">
            <a:xfrm>
              <a:off x="3144048" y="2791871"/>
              <a:ext cx="451445" cy="128588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600" b="1" dirty="0"/>
            </a:p>
          </p:txBody>
        </p:sp>
        <p:sp>
          <p:nvSpPr>
            <p:cNvPr id="100" name="TextBox 210"/>
            <p:cNvSpPr txBox="1">
              <a:spLocks noChangeArrowheads="1"/>
            </p:cNvSpPr>
            <p:nvPr/>
          </p:nvSpPr>
          <p:spPr bwMode="auto">
            <a:xfrm>
              <a:off x="3115574" y="2769303"/>
              <a:ext cx="506240" cy="1725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US" sz="563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ahrain</a:t>
              </a:r>
            </a:p>
          </p:txBody>
        </p:sp>
      </p:grpSp>
      <p:sp>
        <p:nvSpPr>
          <p:cNvPr id="106" name="Oval 105"/>
          <p:cNvSpPr/>
          <p:nvPr userDrawn="1"/>
        </p:nvSpPr>
        <p:spPr bwMode="auto">
          <a:xfrm>
            <a:off x="10083166" y="4516042"/>
            <a:ext cx="83820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07" name="Oval 106"/>
          <p:cNvSpPr/>
          <p:nvPr userDrawn="1"/>
        </p:nvSpPr>
        <p:spPr bwMode="auto">
          <a:xfrm>
            <a:off x="10279379" y="3884527"/>
            <a:ext cx="83821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08" name="Oval 107"/>
          <p:cNvSpPr/>
          <p:nvPr userDrawn="1"/>
        </p:nvSpPr>
        <p:spPr bwMode="auto">
          <a:xfrm>
            <a:off x="11641455" y="5647291"/>
            <a:ext cx="85726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09" name="Oval 108"/>
          <p:cNvSpPr/>
          <p:nvPr userDrawn="1"/>
        </p:nvSpPr>
        <p:spPr bwMode="auto">
          <a:xfrm>
            <a:off x="10869930" y="3684739"/>
            <a:ext cx="91330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10" name="Oval 109"/>
          <p:cNvSpPr/>
          <p:nvPr userDrawn="1"/>
        </p:nvSpPr>
        <p:spPr bwMode="auto">
          <a:xfrm>
            <a:off x="10851817" y="3483252"/>
            <a:ext cx="82741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12" name="Oval 111"/>
          <p:cNvSpPr/>
          <p:nvPr userDrawn="1"/>
        </p:nvSpPr>
        <p:spPr bwMode="auto">
          <a:xfrm>
            <a:off x="10901101" y="3457710"/>
            <a:ext cx="88947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13" name="Oval 112"/>
          <p:cNvSpPr/>
          <p:nvPr userDrawn="1"/>
        </p:nvSpPr>
        <p:spPr bwMode="auto">
          <a:xfrm>
            <a:off x="11322891" y="3225154"/>
            <a:ext cx="88059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15" name="TextBox 114"/>
          <p:cNvSpPr txBox="1"/>
          <p:nvPr userDrawn="1"/>
        </p:nvSpPr>
        <p:spPr bwMode="auto">
          <a:xfrm>
            <a:off x="7407734" y="3496884"/>
            <a:ext cx="1777735" cy="27699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002C76"/>
                </a:solidFill>
                <a:latin typeface="Agency FB" panose="020B0503020202020204" pitchFamily="34" charset="0"/>
              </a:rPr>
              <a:t>USCENTCOM</a:t>
            </a:r>
            <a:endParaRPr lang="en-US" sz="1050" b="1" dirty="0">
              <a:solidFill>
                <a:srgbClr val="002C76"/>
              </a:solidFill>
              <a:latin typeface="Agency FB" panose="020B0503020202020204" pitchFamily="34" charset="0"/>
            </a:endParaRPr>
          </a:p>
        </p:txBody>
      </p:sp>
      <p:sp>
        <p:nvSpPr>
          <p:cNvPr id="116" name="Oval 115"/>
          <p:cNvSpPr/>
          <p:nvPr userDrawn="1"/>
        </p:nvSpPr>
        <p:spPr bwMode="auto">
          <a:xfrm>
            <a:off x="11456669" y="4179096"/>
            <a:ext cx="81915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cxnSp>
        <p:nvCxnSpPr>
          <p:cNvPr id="117" name="Straight Connector 116"/>
          <p:cNvCxnSpPr/>
          <p:nvPr userDrawn="1"/>
        </p:nvCxnSpPr>
        <p:spPr>
          <a:xfrm>
            <a:off x="899087" y="1716710"/>
            <a:ext cx="1" cy="641616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/>
          <p:cNvCxnSpPr/>
          <p:nvPr userDrawn="1"/>
        </p:nvCxnSpPr>
        <p:spPr>
          <a:xfrm flipH="1">
            <a:off x="0" y="2347887"/>
            <a:ext cx="905541" cy="531752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 userDrawn="1"/>
        </p:nvCxnSpPr>
        <p:spPr>
          <a:xfrm>
            <a:off x="5627193" y="4506108"/>
            <a:ext cx="193057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/>
          <p:cNvCxnSpPr/>
          <p:nvPr userDrawn="1"/>
        </p:nvCxnSpPr>
        <p:spPr bwMode="auto">
          <a:xfrm flipH="1">
            <a:off x="8073067" y="4620334"/>
            <a:ext cx="71052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1" name="Oval 120"/>
          <p:cNvSpPr/>
          <p:nvPr userDrawn="1"/>
        </p:nvSpPr>
        <p:spPr bwMode="auto">
          <a:xfrm>
            <a:off x="8801872" y="4721404"/>
            <a:ext cx="84954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22" name="TextBox 121"/>
          <p:cNvSpPr txBox="1"/>
          <p:nvPr userDrawn="1"/>
        </p:nvSpPr>
        <p:spPr bwMode="auto">
          <a:xfrm>
            <a:off x="150671" y="1439118"/>
            <a:ext cx="2123629" cy="27699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rgbClr val="002060"/>
                </a:solidFill>
                <a:latin typeface="Agency FB" panose="020B0503020202020204" pitchFamily="34" charset="0"/>
              </a:rPr>
              <a:t>USNORTHCOM</a:t>
            </a:r>
            <a:endParaRPr lang="en-US" sz="1050" b="1" dirty="0">
              <a:solidFill>
                <a:srgbClr val="002060"/>
              </a:solidFill>
              <a:latin typeface="Agency FB" panose="020B0503020202020204" pitchFamily="34" charset="0"/>
            </a:endParaRPr>
          </a:p>
        </p:txBody>
      </p:sp>
      <p:cxnSp>
        <p:nvCxnSpPr>
          <p:cNvPr id="123" name="Straight Connector 122"/>
          <p:cNvCxnSpPr/>
          <p:nvPr userDrawn="1"/>
        </p:nvCxnSpPr>
        <p:spPr>
          <a:xfrm>
            <a:off x="3774780" y="3906350"/>
            <a:ext cx="27240" cy="189095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/>
          <p:cNvCxnSpPr/>
          <p:nvPr userDrawn="1"/>
        </p:nvCxnSpPr>
        <p:spPr>
          <a:xfrm flipV="1">
            <a:off x="3513467" y="4205084"/>
            <a:ext cx="35179" cy="347244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 userDrawn="1"/>
        </p:nvCxnSpPr>
        <p:spPr>
          <a:xfrm flipV="1">
            <a:off x="3627379" y="4088097"/>
            <a:ext cx="172759" cy="3802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Oval 125"/>
          <p:cNvSpPr/>
          <p:nvPr userDrawn="1"/>
        </p:nvSpPr>
        <p:spPr bwMode="auto">
          <a:xfrm>
            <a:off x="3931028" y="3905587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cxnSp>
        <p:nvCxnSpPr>
          <p:cNvPr id="127" name="Elbow Connector 126"/>
          <p:cNvCxnSpPr/>
          <p:nvPr userDrawn="1"/>
        </p:nvCxnSpPr>
        <p:spPr>
          <a:xfrm>
            <a:off x="4183465" y="3993744"/>
            <a:ext cx="301569" cy="124956"/>
          </a:xfrm>
          <a:prstGeom prst="bentConnector3">
            <a:avLst>
              <a:gd name="adj1" fmla="val 47895"/>
            </a:avLst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Oval 129"/>
          <p:cNvSpPr/>
          <p:nvPr userDrawn="1"/>
        </p:nvSpPr>
        <p:spPr bwMode="auto">
          <a:xfrm>
            <a:off x="10671810" y="4107752"/>
            <a:ext cx="87630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28" name="Slide Number Placeholder 3"/>
          <p:cNvSpPr>
            <a:spLocks noGrp="1"/>
          </p:cNvSpPr>
          <p:nvPr userDrawn="1">
            <p:ph type="sldNum" sz="quarter" idx="4"/>
          </p:nvPr>
        </p:nvSpPr>
        <p:spPr>
          <a:xfrm>
            <a:off x="11158582" y="6481622"/>
            <a:ext cx="9595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A31A13-FDED-4228-990A-2B973EB1A1C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9" name="Oval 128"/>
          <p:cNvSpPr/>
          <p:nvPr userDrawn="1"/>
        </p:nvSpPr>
        <p:spPr bwMode="auto">
          <a:xfrm>
            <a:off x="8453027" y="3818233"/>
            <a:ext cx="88658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36" name="Oval 135"/>
          <p:cNvSpPr/>
          <p:nvPr userDrawn="1"/>
        </p:nvSpPr>
        <p:spPr bwMode="auto">
          <a:xfrm>
            <a:off x="11353420" y="3270726"/>
            <a:ext cx="85781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37" name="Oval 136"/>
          <p:cNvSpPr/>
          <p:nvPr userDrawn="1"/>
        </p:nvSpPr>
        <p:spPr bwMode="auto">
          <a:xfrm>
            <a:off x="10990048" y="3532354"/>
            <a:ext cx="83496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39" name="5-Point Star 138"/>
          <p:cNvSpPr/>
          <p:nvPr userDrawn="1"/>
        </p:nvSpPr>
        <p:spPr bwMode="auto">
          <a:xfrm>
            <a:off x="11159038" y="3429655"/>
            <a:ext cx="214237" cy="195549"/>
          </a:xfrm>
          <a:prstGeom prst="star5">
            <a:avLst/>
          </a:prstGeom>
          <a:solidFill>
            <a:srgbClr val="C00000"/>
          </a:solidFill>
          <a:ln w="9525">
            <a:solidFill>
              <a:srgbClr val="F894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41" name="5-Point Star 140"/>
          <p:cNvSpPr/>
          <p:nvPr userDrawn="1"/>
        </p:nvSpPr>
        <p:spPr bwMode="auto">
          <a:xfrm>
            <a:off x="1164469" y="4117852"/>
            <a:ext cx="214237" cy="195549"/>
          </a:xfrm>
          <a:prstGeom prst="star5">
            <a:avLst/>
          </a:prstGeom>
          <a:solidFill>
            <a:srgbClr val="C00000"/>
          </a:solidFill>
          <a:ln w="9525">
            <a:solidFill>
              <a:srgbClr val="F894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42" name="5-Point Star 141"/>
          <p:cNvSpPr/>
          <p:nvPr userDrawn="1"/>
        </p:nvSpPr>
        <p:spPr bwMode="auto">
          <a:xfrm>
            <a:off x="8229648" y="3735718"/>
            <a:ext cx="214237" cy="195549"/>
          </a:xfrm>
          <a:prstGeom prst="star5">
            <a:avLst/>
          </a:prstGeom>
          <a:solidFill>
            <a:srgbClr val="C00000"/>
          </a:solidFill>
          <a:ln w="9525">
            <a:solidFill>
              <a:srgbClr val="F894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44" name="Oval 143"/>
          <p:cNvSpPr/>
          <p:nvPr userDrawn="1"/>
        </p:nvSpPr>
        <p:spPr bwMode="auto">
          <a:xfrm>
            <a:off x="8408698" y="3849567"/>
            <a:ext cx="88658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45" name="Oval 144"/>
          <p:cNvSpPr/>
          <p:nvPr userDrawn="1"/>
        </p:nvSpPr>
        <p:spPr bwMode="auto">
          <a:xfrm>
            <a:off x="7992767" y="4202192"/>
            <a:ext cx="88658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47" name="Oval 146"/>
          <p:cNvSpPr/>
          <p:nvPr userDrawn="1"/>
        </p:nvSpPr>
        <p:spPr bwMode="auto">
          <a:xfrm>
            <a:off x="7308864" y="3307605"/>
            <a:ext cx="88658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48" name="Oval 147"/>
          <p:cNvSpPr/>
          <p:nvPr userDrawn="1"/>
        </p:nvSpPr>
        <p:spPr bwMode="auto">
          <a:xfrm>
            <a:off x="7271351" y="3274972"/>
            <a:ext cx="88658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49" name="Oval 148"/>
          <p:cNvSpPr/>
          <p:nvPr userDrawn="1"/>
        </p:nvSpPr>
        <p:spPr bwMode="auto">
          <a:xfrm>
            <a:off x="7058313" y="3284524"/>
            <a:ext cx="88658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50" name="Oval 149"/>
          <p:cNvSpPr/>
          <p:nvPr userDrawn="1"/>
        </p:nvSpPr>
        <p:spPr bwMode="auto">
          <a:xfrm>
            <a:off x="7022624" y="3232351"/>
            <a:ext cx="88658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51" name="Oval 150"/>
          <p:cNvSpPr/>
          <p:nvPr userDrawn="1"/>
        </p:nvSpPr>
        <p:spPr bwMode="auto">
          <a:xfrm>
            <a:off x="6970090" y="3162768"/>
            <a:ext cx="88658" cy="82451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59" name="5-Point Star 158"/>
          <p:cNvSpPr/>
          <p:nvPr userDrawn="1"/>
        </p:nvSpPr>
        <p:spPr bwMode="auto">
          <a:xfrm>
            <a:off x="7033969" y="3301404"/>
            <a:ext cx="214237" cy="195549"/>
          </a:xfrm>
          <a:prstGeom prst="star5">
            <a:avLst/>
          </a:prstGeom>
          <a:solidFill>
            <a:srgbClr val="C00000"/>
          </a:solidFill>
          <a:ln w="9525">
            <a:solidFill>
              <a:srgbClr val="F894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60" name="Oval 159"/>
          <p:cNvSpPr/>
          <p:nvPr userDrawn="1"/>
        </p:nvSpPr>
        <p:spPr bwMode="auto">
          <a:xfrm>
            <a:off x="3807936" y="3822726"/>
            <a:ext cx="86780" cy="82296"/>
          </a:xfrm>
          <a:prstGeom prst="ellipse">
            <a:avLst/>
          </a:prstGeom>
          <a:solidFill>
            <a:srgbClr val="24579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82" name="5-Point Star 181"/>
          <p:cNvSpPr/>
          <p:nvPr userDrawn="1"/>
        </p:nvSpPr>
        <p:spPr bwMode="auto">
          <a:xfrm>
            <a:off x="3962214" y="3290667"/>
            <a:ext cx="214237" cy="195549"/>
          </a:xfrm>
          <a:prstGeom prst="star5">
            <a:avLst/>
          </a:prstGeom>
          <a:solidFill>
            <a:srgbClr val="C00000"/>
          </a:solidFill>
          <a:ln w="9525">
            <a:solidFill>
              <a:srgbClr val="F894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81" name="5-Point Star 180"/>
          <p:cNvSpPr/>
          <p:nvPr userDrawn="1"/>
        </p:nvSpPr>
        <p:spPr bwMode="auto">
          <a:xfrm>
            <a:off x="4027086" y="3380501"/>
            <a:ext cx="214237" cy="195549"/>
          </a:xfrm>
          <a:prstGeom prst="star5">
            <a:avLst/>
          </a:prstGeom>
          <a:solidFill>
            <a:srgbClr val="C00000"/>
          </a:solidFill>
          <a:ln w="9525">
            <a:solidFill>
              <a:srgbClr val="F894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83" name="5-Point Star 182"/>
          <p:cNvSpPr/>
          <p:nvPr userDrawn="1"/>
        </p:nvSpPr>
        <p:spPr bwMode="auto">
          <a:xfrm>
            <a:off x="3752250" y="3584783"/>
            <a:ext cx="214237" cy="195549"/>
          </a:xfrm>
          <a:prstGeom prst="star5">
            <a:avLst/>
          </a:prstGeom>
          <a:solidFill>
            <a:srgbClr val="C00000"/>
          </a:solidFill>
          <a:ln w="9525">
            <a:solidFill>
              <a:srgbClr val="F894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84" name="5-Point Star 183"/>
          <p:cNvSpPr/>
          <p:nvPr userDrawn="1"/>
        </p:nvSpPr>
        <p:spPr bwMode="auto">
          <a:xfrm>
            <a:off x="2540884" y="3418425"/>
            <a:ext cx="214237" cy="195549"/>
          </a:xfrm>
          <a:prstGeom prst="star5">
            <a:avLst/>
          </a:prstGeom>
          <a:solidFill>
            <a:srgbClr val="C00000"/>
          </a:solidFill>
          <a:ln w="9525">
            <a:solidFill>
              <a:srgbClr val="F894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91" name="5-Point Star 190"/>
          <p:cNvSpPr/>
          <p:nvPr userDrawn="1"/>
        </p:nvSpPr>
        <p:spPr bwMode="auto">
          <a:xfrm>
            <a:off x="2383317" y="2962491"/>
            <a:ext cx="214237" cy="195549"/>
          </a:xfrm>
          <a:prstGeom prst="star5">
            <a:avLst/>
          </a:prstGeom>
          <a:solidFill>
            <a:srgbClr val="C00000"/>
          </a:solidFill>
          <a:ln w="9525">
            <a:solidFill>
              <a:srgbClr val="F894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2381145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1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443198"/>
          </a:xfrm>
          <a:prstGeom prst="rect">
            <a:avLst/>
          </a:prstGeom>
        </p:spPr>
        <p:txBody>
          <a:bodyPr/>
          <a:lstStyle>
            <a:lvl1pPr>
              <a:defRPr sz="3200" b="1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9731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2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060"/>
              </a:gs>
              <a:gs pos="100000">
                <a:srgbClr val="0F2239"/>
              </a:gs>
            </a:gsLst>
            <a:lin ang="81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443198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69773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6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706543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9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4088411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00B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14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41248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38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43198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63372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954928"/>
            <a:ext cx="2819400" cy="100777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3200" b="1" dirty="0">
                <a:solidFill>
                  <a:srgbClr val="002060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1512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6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84876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0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10083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4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86141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6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704514" y="4450774"/>
            <a:ext cx="3537344" cy="378565"/>
          </a:xfrm>
          <a:prstGeom prst="rect">
            <a:avLst/>
          </a:prstGeom>
        </p:spPr>
        <p:txBody>
          <a:bodyPr lIns="73152" tIns="36576" rIns="73152" bIns="36576" anchor="t">
            <a:spAutoFit/>
          </a:bodyPr>
          <a:lstStyle>
            <a:lvl1pPr marL="0" indent="0" algn="l">
              <a:lnSpc>
                <a:spcPct val="110000"/>
              </a:lnSpc>
              <a:buNone/>
              <a:defRPr sz="1800" b="1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text</a:t>
            </a:r>
          </a:p>
        </p:txBody>
      </p:sp>
      <p:cxnSp>
        <p:nvCxnSpPr>
          <p:cNvPr id="4" name="Straight Connector 21"/>
          <p:cNvCxnSpPr>
            <a:cxnSpLocks noChangeShapeType="1"/>
          </p:cNvCxnSpPr>
          <p:nvPr userDrawn="1"/>
        </p:nvCxnSpPr>
        <p:spPr bwMode="auto">
          <a:xfrm>
            <a:off x="785912" y="4009225"/>
            <a:ext cx="6541679" cy="6703"/>
          </a:xfrm>
          <a:prstGeom prst="line">
            <a:avLst/>
          </a:prstGeom>
          <a:noFill/>
          <a:ln w="25400" algn="ctr">
            <a:solidFill>
              <a:srgbClr val="FECB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714689" y="5545060"/>
            <a:ext cx="3537344" cy="238488"/>
          </a:xfrm>
          <a:prstGeom prst="rect">
            <a:avLst/>
          </a:prstGeom>
          <a:noFill/>
        </p:spPr>
        <p:txBody>
          <a:bodyPr lIns="73152" tIns="36576" rIns="73152" bIns="36576" anchor="ctr"/>
          <a:lstStyle>
            <a:lvl1pPr algn="l">
              <a:lnSpc>
                <a:spcPct val="110000"/>
              </a:lnSpc>
              <a:buNone/>
              <a:defRPr sz="1100" b="1" cap="all" baseline="0">
                <a:solidFill>
                  <a:srgbClr val="7F7F7F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678076" y="3589156"/>
            <a:ext cx="6436312" cy="427435"/>
          </a:xfrm>
          <a:prstGeom prst="rect">
            <a:avLst/>
          </a:prstGeom>
        </p:spPr>
        <p:txBody>
          <a:bodyPr lIns="73152" tIns="36576" rIns="73152" bIns="36576" anchor="b">
            <a:normAutofit/>
          </a:bodyPr>
          <a:lstStyle>
            <a:lvl1pPr algn="l">
              <a:lnSpc>
                <a:spcPct val="93000"/>
              </a:lnSpc>
              <a:defRPr sz="2400" b="1" baseline="0">
                <a:solidFill>
                  <a:srgbClr val="7F7F7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7412" y="-106288"/>
            <a:ext cx="2596681" cy="1458330"/>
          </a:xfrm>
          <a:custGeom>
            <a:avLst/>
            <a:gdLst>
              <a:gd name="connsiteX0" fmla="*/ 0 w 12146170"/>
              <a:gd name="connsiteY0" fmla="*/ 0 h 1456664"/>
              <a:gd name="connsiteX1" fmla="*/ 12146170 w 12146170"/>
              <a:gd name="connsiteY1" fmla="*/ 0 h 1456664"/>
              <a:gd name="connsiteX2" fmla="*/ 12146170 w 12146170"/>
              <a:gd name="connsiteY2" fmla="*/ 1456664 h 1456664"/>
              <a:gd name="connsiteX3" fmla="*/ 0 w 12146170"/>
              <a:gd name="connsiteY3" fmla="*/ 1456664 h 1456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46170" h="1456664">
                <a:moveTo>
                  <a:pt x="0" y="0"/>
                </a:moveTo>
                <a:lnTo>
                  <a:pt x="12146170" y="0"/>
                </a:lnTo>
                <a:lnTo>
                  <a:pt x="12146170" y="1456664"/>
                </a:lnTo>
                <a:lnTo>
                  <a:pt x="0" y="1456664"/>
                </a:lnTo>
                <a:close/>
              </a:path>
            </a:pathLst>
          </a:custGeom>
        </p:spPr>
      </p:pic>
      <p:sp>
        <p:nvSpPr>
          <p:cNvPr id="17" name="Rectangular Callout 16"/>
          <p:cNvSpPr/>
          <p:nvPr userDrawn="1"/>
        </p:nvSpPr>
        <p:spPr>
          <a:xfrm rot="16200000" flipV="1">
            <a:off x="5954674" y="1883030"/>
            <a:ext cx="6855745" cy="3106300"/>
          </a:xfrm>
          <a:custGeom>
            <a:avLst/>
            <a:gdLst>
              <a:gd name="connsiteX0" fmla="*/ 0 w 6855745"/>
              <a:gd name="connsiteY0" fmla="*/ 0 h 2833969"/>
              <a:gd name="connsiteX1" fmla="*/ 1142624 w 6855745"/>
              <a:gd name="connsiteY1" fmla="*/ 0 h 2833969"/>
              <a:gd name="connsiteX2" fmla="*/ 1142624 w 6855745"/>
              <a:gd name="connsiteY2" fmla="*/ 0 h 2833969"/>
              <a:gd name="connsiteX3" fmla="*/ 2856560 w 6855745"/>
              <a:gd name="connsiteY3" fmla="*/ 0 h 2833969"/>
              <a:gd name="connsiteX4" fmla="*/ 6855745 w 6855745"/>
              <a:gd name="connsiteY4" fmla="*/ 0 h 2833969"/>
              <a:gd name="connsiteX5" fmla="*/ 6855745 w 6855745"/>
              <a:gd name="connsiteY5" fmla="*/ 1653149 h 2833969"/>
              <a:gd name="connsiteX6" fmla="*/ 6855745 w 6855745"/>
              <a:gd name="connsiteY6" fmla="*/ 1653149 h 2833969"/>
              <a:gd name="connsiteX7" fmla="*/ 6855745 w 6855745"/>
              <a:gd name="connsiteY7" fmla="*/ 2361641 h 2833969"/>
              <a:gd name="connsiteX8" fmla="*/ 6855745 w 6855745"/>
              <a:gd name="connsiteY8" fmla="*/ 2833969 h 2833969"/>
              <a:gd name="connsiteX9" fmla="*/ 2856560 w 6855745"/>
              <a:gd name="connsiteY9" fmla="*/ 2833969 h 2833969"/>
              <a:gd name="connsiteX10" fmla="*/ 1999615 w 6855745"/>
              <a:gd name="connsiteY10" fmla="*/ 3188215 h 2833969"/>
              <a:gd name="connsiteX11" fmla="*/ 1142624 w 6855745"/>
              <a:gd name="connsiteY11" fmla="*/ 2833969 h 2833969"/>
              <a:gd name="connsiteX12" fmla="*/ 0 w 6855745"/>
              <a:gd name="connsiteY12" fmla="*/ 2833969 h 2833969"/>
              <a:gd name="connsiteX13" fmla="*/ 0 w 6855745"/>
              <a:gd name="connsiteY13" fmla="*/ 2361641 h 2833969"/>
              <a:gd name="connsiteX14" fmla="*/ 0 w 6855745"/>
              <a:gd name="connsiteY14" fmla="*/ 1653149 h 2833969"/>
              <a:gd name="connsiteX15" fmla="*/ 0 w 6855745"/>
              <a:gd name="connsiteY15" fmla="*/ 1653149 h 2833969"/>
              <a:gd name="connsiteX16" fmla="*/ 0 w 6855745"/>
              <a:gd name="connsiteY16" fmla="*/ 0 h 2833969"/>
              <a:gd name="connsiteX0" fmla="*/ 0 w 6855745"/>
              <a:gd name="connsiteY0" fmla="*/ 0 h 3073915"/>
              <a:gd name="connsiteX1" fmla="*/ 1142624 w 6855745"/>
              <a:gd name="connsiteY1" fmla="*/ 0 h 3073915"/>
              <a:gd name="connsiteX2" fmla="*/ 1142624 w 6855745"/>
              <a:gd name="connsiteY2" fmla="*/ 0 h 3073915"/>
              <a:gd name="connsiteX3" fmla="*/ 2856560 w 6855745"/>
              <a:gd name="connsiteY3" fmla="*/ 0 h 3073915"/>
              <a:gd name="connsiteX4" fmla="*/ 6855745 w 6855745"/>
              <a:gd name="connsiteY4" fmla="*/ 0 h 3073915"/>
              <a:gd name="connsiteX5" fmla="*/ 6855745 w 6855745"/>
              <a:gd name="connsiteY5" fmla="*/ 1653149 h 3073915"/>
              <a:gd name="connsiteX6" fmla="*/ 6855745 w 6855745"/>
              <a:gd name="connsiteY6" fmla="*/ 1653149 h 3073915"/>
              <a:gd name="connsiteX7" fmla="*/ 6855745 w 6855745"/>
              <a:gd name="connsiteY7" fmla="*/ 2361641 h 3073915"/>
              <a:gd name="connsiteX8" fmla="*/ 6855745 w 6855745"/>
              <a:gd name="connsiteY8" fmla="*/ 2833969 h 3073915"/>
              <a:gd name="connsiteX9" fmla="*/ 2856560 w 6855745"/>
              <a:gd name="connsiteY9" fmla="*/ 2833969 h 3073915"/>
              <a:gd name="connsiteX10" fmla="*/ 3085465 w 6855745"/>
              <a:gd name="connsiteY10" fmla="*/ 3073915 h 3073915"/>
              <a:gd name="connsiteX11" fmla="*/ 1142624 w 6855745"/>
              <a:gd name="connsiteY11" fmla="*/ 2833969 h 3073915"/>
              <a:gd name="connsiteX12" fmla="*/ 0 w 6855745"/>
              <a:gd name="connsiteY12" fmla="*/ 2833969 h 3073915"/>
              <a:gd name="connsiteX13" fmla="*/ 0 w 6855745"/>
              <a:gd name="connsiteY13" fmla="*/ 2361641 h 3073915"/>
              <a:gd name="connsiteX14" fmla="*/ 0 w 6855745"/>
              <a:gd name="connsiteY14" fmla="*/ 1653149 h 3073915"/>
              <a:gd name="connsiteX15" fmla="*/ 0 w 6855745"/>
              <a:gd name="connsiteY15" fmla="*/ 1653149 h 3073915"/>
              <a:gd name="connsiteX16" fmla="*/ 0 w 6855745"/>
              <a:gd name="connsiteY16" fmla="*/ 0 h 3073915"/>
              <a:gd name="connsiteX0" fmla="*/ 0 w 6855745"/>
              <a:gd name="connsiteY0" fmla="*/ 0 h 3073915"/>
              <a:gd name="connsiteX1" fmla="*/ 1142624 w 6855745"/>
              <a:gd name="connsiteY1" fmla="*/ 0 h 3073915"/>
              <a:gd name="connsiteX2" fmla="*/ 1142624 w 6855745"/>
              <a:gd name="connsiteY2" fmla="*/ 0 h 3073915"/>
              <a:gd name="connsiteX3" fmla="*/ 2856560 w 6855745"/>
              <a:gd name="connsiteY3" fmla="*/ 0 h 3073915"/>
              <a:gd name="connsiteX4" fmla="*/ 6855745 w 6855745"/>
              <a:gd name="connsiteY4" fmla="*/ 0 h 3073915"/>
              <a:gd name="connsiteX5" fmla="*/ 6855745 w 6855745"/>
              <a:gd name="connsiteY5" fmla="*/ 1653149 h 3073915"/>
              <a:gd name="connsiteX6" fmla="*/ 6855745 w 6855745"/>
              <a:gd name="connsiteY6" fmla="*/ 1653149 h 3073915"/>
              <a:gd name="connsiteX7" fmla="*/ 6855745 w 6855745"/>
              <a:gd name="connsiteY7" fmla="*/ 2361641 h 3073915"/>
              <a:gd name="connsiteX8" fmla="*/ 6855745 w 6855745"/>
              <a:gd name="connsiteY8" fmla="*/ 2833969 h 3073915"/>
              <a:gd name="connsiteX9" fmla="*/ 3323285 w 6855745"/>
              <a:gd name="connsiteY9" fmla="*/ 2833969 h 3073915"/>
              <a:gd name="connsiteX10" fmla="*/ 3085465 w 6855745"/>
              <a:gd name="connsiteY10" fmla="*/ 3073915 h 3073915"/>
              <a:gd name="connsiteX11" fmla="*/ 1142624 w 6855745"/>
              <a:gd name="connsiteY11" fmla="*/ 2833969 h 3073915"/>
              <a:gd name="connsiteX12" fmla="*/ 0 w 6855745"/>
              <a:gd name="connsiteY12" fmla="*/ 2833969 h 3073915"/>
              <a:gd name="connsiteX13" fmla="*/ 0 w 6855745"/>
              <a:gd name="connsiteY13" fmla="*/ 2361641 h 3073915"/>
              <a:gd name="connsiteX14" fmla="*/ 0 w 6855745"/>
              <a:gd name="connsiteY14" fmla="*/ 1653149 h 3073915"/>
              <a:gd name="connsiteX15" fmla="*/ 0 w 6855745"/>
              <a:gd name="connsiteY15" fmla="*/ 1653149 h 3073915"/>
              <a:gd name="connsiteX16" fmla="*/ 0 w 6855745"/>
              <a:gd name="connsiteY16" fmla="*/ 0 h 3073915"/>
              <a:gd name="connsiteX0" fmla="*/ 0 w 6855745"/>
              <a:gd name="connsiteY0" fmla="*/ 0 h 3073915"/>
              <a:gd name="connsiteX1" fmla="*/ 1142624 w 6855745"/>
              <a:gd name="connsiteY1" fmla="*/ 0 h 3073915"/>
              <a:gd name="connsiteX2" fmla="*/ 1142624 w 6855745"/>
              <a:gd name="connsiteY2" fmla="*/ 0 h 3073915"/>
              <a:gd name="connsiteX3" fmla="*/ 2856560 w 6855745"/>
              <a:gd name="connsiteY3" fmla="*/ 0 h 3073915"/>
              <a:gd name="connsiteX4" fmla="*/ 6855745 w 6855745"/>
              <a:gd name="connsiteY4" fmla="*/ 0 h 3073915"/>
              <a:gd name="connsiteX5" fmla="*/ 6855745 w 6855745"/>
              <a:gd name="connsiteY5" fmla="*/ 1653149 h 3073915"/>
              <a:gd name="connsiteX6" fmla="*/ 6855745 w 6855745"/>
              <a:gd name="connsiteY6" fmla="*/ 1653149 h 3073915"/>
              <a:gd name="connsiteX7" fmla="*/ 6855745 w 6855745"/>
              <a:gd name="connsiteY7" fmla="*/ 2361641 h 3073915"/>
              <a:gd name="connsiteX8" fmla="*/ 6855745 w 6855745"/>
              <a:gd name="connsiteY8" fmla="*/ 2833969 h 3073915"/>
              <a:gd name="connsiteX9" fmla="*/ 3323285 w 6855745"/>
              <a:gd name="connsiteY9" fmla="*/ 2833969 h 3073915"/>
              <a:gd name="connsiteX10" fmla="*/ 3085465 w 6855745"/>
              <a:gd name="connsiteY10" fmla="*/ 3073915 h 3073915"/>
              <a:gd name="connsiteX11" fmla="*/ 2819024 w 6855745"/>
              <a:gd name="connsiteY11" fmla="*/ 2843494 h 3073915"/>
              <a:gd name="connsiteX12" fmla="*/ 0 w 6855745"/>
              <a:gd name="connsiteY12" fmla="*/ 2833969 h 3073915"/>
              <a:gd name="connsiteX13" fmla="*/ 0 w 6855745"/>
              <a:gd name="connsiteY13" fmla="*/ 2361641 h 3073915"/>
              <a:gd name="connsiteX14" fmla="*/ 0 w 6855745"/>
              <a:gd name="connsiteY14" fmla="*/ 1653149 h 3073915"/>
              <a:gd name="connsiteX15" fmla="*/ 0 w 6855745"/>
              <a:gd name="connsiteY15" fmla="*/ 1653149 h 3073915"/>
              <a:gd name="connsiteX16" fmla="*/ 0 w 6855745"/>
              <a:gd name="connsiteY16" fmla="*/ 0 h 3073915"/>
              <a:gd name="connsiteX0" fmla="*/ 0 w 6855745"/>
              <a:gd name="connsiteY0" fmla="*/ 0 h 3073915"/>
              <a:gd name="connsiteX1" fmla="*/ 1142624 w 6855745"/>
              <a:gd name="connsiteY1" fmla="*/ 0 h 3073915"/>
              <a:gd name="connsiteX2" fmla="*/ 1142624 w 6855745"/>
              <a:gd name="connsiteY2" fmla="*/ 0 h 3073915"/>
              <a:gd name="connsiteX3" fmla="*/ 2856560 w 6855745"/>
              <a:gd name="connsiteY3" fmla="*/ 0 h 3073915"/>
              <a:gd name="connsiteX4" fmla="*/ 6855745 w 6855745"/>
              <a:gd name="connsiteY4" fmla="*/ 0 h 3073915"/>
              <a:gd name="connsiteX5" fmla="*/ 6855745 w 6855745"/>
              <a:gd name="connsiteY5" fmla="*/ 1653149 h 3073915"/>
              <a:gd name="connsiteX6" fmla="*/ 6855745 w 6855745"/>
              <a:gd name="connsiteY6" fmla="*/ 1653149 h 3073915"/>
              <a:gd name="connsiteX7" fmla="*/ 6855745 w 6855745"/>
              <a:gd name="connsiteY7" fmla="*/ 2361641 h 3073915"/>
              <a:gd name="connsiteX8" fmla="*/ 6855745 w 6855745"/>
              <a:gd name="connsiteY8" fmla="*/ 2833969 h 3073915"/>
              <a:gd name="connsiteX9" fmla="*/ 3323285 w 6855745"/>
              <a:gd name="connsiteY9" fmla="*/ 2833969 h 3073915"/>
              <a:gd name="connsiteX10" fmla="*/ 3085465 w 6855745"/>
              <a:gd name="connsiteY10" fmla="*/ 3073915 h 3073915"/>
              <a:gd name="connsiteX11" fmla="*/ 2819024 w 6855745"/>
              <a:gd name="connsiteY11" fmla="*/ 2843494 h 3073915"/>
              <a:gd name="connsiteX12" fmla="*/ 0 w 6855745"/>
              <a:gd name="connsiteY12" fmla="*/ 2833969 h 3073915"/>
              <a:gd name="connsiteX13" fmla="*/ 0 w 6855745"/>
              <a:gd name="connsiteY13" fmla="*/ 2361641 h 3073915"/>
              <a:gd name="connsiteX14" fmla="*/ 0 w 6855745"/>
              <a:gd name="connsiteY14" fmla="*/ 1653149 h 3073915"/>
              <a:gd name="connsiteX15" fmla="*/ 0 w 6855745"/>
              <a:gd name="connsiteY15" fmla="*/ 1653149 h 3073915"/>
              <a:gd name="connsiteX16" fmla="*/ 0 w 6855745"/>
              <a:gd name="connsiteY16" fmla="*/ 0 h 3073915"/>
              <a:gd name="connsiteX0" fmla="*/ 0 w 6855745"/>
              <a:gd name="connsiteY0" fmla="*/ 0 h 3140590"/>
              <a:gd name="connsiteX1" fmla="*/ 1142624 w 6855745"/>
              <a:gd name="connsiteY1" fmla="*/ 0 h 3140590"/>
              <a:gd name="connsiteX2" fmla="*/ 1142624 w 6855745"/>
              <a:gd name="connsiteY2" fmla="*/ 0 h 3140590"/>
              <a:gd name="connsiteX3" fmla="*/ 2856560 w 6855745"/>
              <a:gd name="connsiteY3" fmla="*/ 0 h 3140590"/>
              <a:gd name="connsiteX4" fmla="*/ 6855745 w 6855745"/>
              <a:gd name="connsiteY4" fmla="*/ 0 h 3140590"/>
              <a:gd name="connsiteX5" fmla="*/ 6855745 w 6855745"/>
              <a:gd name="connsiteY5" fmla="*/ 1653149 h 3140590"/>
              <a:gd name="connsiteX6" fmla="*/ 6855745 w 6855745"/>
              <a:gd name="connsiteY6" fmla="*/ 1653149 h 3140590"/>
              <a:gd name="connsiteX7" fmla="*/ 6855745 w 6855745"/>
              <a:gd name="connsiteY7" fmla="*/ 2361641 h 3140590"/>
              <a:gd name="connsiteX8" fmla="*/ 6855745 w 6855745"/>
              <a:gd name="connsiteY8" fmla="*/ 2833969 h 3140590"/>
              <a:gd name="connsiteX9" fmla="*/ 3323285 w 6855745"/>
              <a:gd name="connsiteY9" fmla="*/ 2833969 h 3140590"/>
              <a:gd name="connsiteX10" fmla="*/ 3761740 w 6855745"/>
              <a:gd name="connsiteY10" fmla="*/ 3140590 h 3140590"/>
              <a:gd name="connsiteX11" fmla="*/ 2819024 w 6855745"/>
              <a:gd name="connsiteY11" fmla="*/ 2843494 h 3140590"/>
              <a:gd name="connsiteX12" fmla="*/ 0 w 6855745"/>
              <a:gd name="connsiteY12" fmla="*/ 2833969 h 3140590"/>
              <a:gd name="connsiteX13" fmla="*/ 0 w 6855745"/>
              <a:gd name="connsiteY13" fmla="*/ 2361641 h 3140590"/>
              <a:gd name="connsiteX14" fmla="*/ 0 w 6855745"/>
              <a:gd name="connsiteY14" fmla="*/ 1653149 h 3140590"/>
              <a:gd name="connsiteX15" fmla="*/ 0 w 6855745"/>
              <a:gd name="connsiteY15" fmla="*/ 1653149 h 3140590"/>
              <a:gd name="connsiteX16" fmla="*/ 0 w 6855745"/>
              <a:gd name="connsiteY16" fmla="*/ 0 h 3140590"/>
              <a:gd name="connsiteX0" fmla="*/ 0 w 6855745"/>
              <a:gd name="connsiteY0" fmla="*/ 0 h 3140590"/>
              <a:gd name="connsiteX1" fmla="*/ 1142624 w 6855745"/>
              <a:gd name="connsiteY1" fmla="*/ 0 h 3140590"/>
              <a:gd name="connsiteX2" fmla="*/ 1142624 w 6855745"/>
              <a:gd name="connsiteY2" fmla="*/ 0 h 3140590"/>
              <a:gd name="connsiteX3" fmla="*/ 2856560 w 6855745"/>
              <a:gd name="connsiteY3" fmla="*/ 0 h 3140590"/>
              <a:gd name="connsiteX4" fmla="*/ 6855745 w 6855745"/>
              <a:gd name="connsiteY4" fmla="*/ 0 h 3140590"/>
              <a:gd name="connsiteX5" fmla="*/ 6855745 w 6855745"/>
              <a:gd name="connsiteY5" fmla="*/ 1653149 h 3140590"/>
              <a:gd name="connsiteX6" fmla="*/ 6855745 w 6855745"/>
              <a:gd name="connsiteY6" fmla="*/ 1653149 h 3140590"/>
              <a:gd name="connsiteX7" fmla="*/ 6855745 w 6855745"/>
              <a:gd name="connsiteY7" fmla="*/ 2361641 h 3140590"/>
              <a:gd name="connsiteX8" fmla="*/ 6855745 w 6855745"/>
              <a:gd name="connsiteY8" fmla="*/ 2833969 h 3140590"/>
              <a:gd name="connsiteX9" fmla="*/ 4056710 w 6855745"/>
              <a:gd name="connsiteY9" fmla="*/ 2833969 h 3140590"/>
              <a:gd name="connsiteX10" fmla="*/ 3761740 w 6855745"/>
              <a:gd name="connsiteY10" fmla="*/ 3140590 h 3140590"/>
              <a:gd name="connsiteX11" fmla="*/ 2819024 w 6855745"/>
              <a:gd name="connsiteY11" fmla="*/ 2843494 h 3140590"/>
              <a:gd name="connsiteX12" fmla="*/ 0 w 6855745"/>
              <a:gd name="connsiteY12" fmla="*/ 2833969 h 3140590"/>
              <a:gd name="connsiteX13" fmla="*/ 0 w 6855745"/>
              <a:gd name="connsiteY13" fmla="*/ 2361641 h 3140590"/>
              <a:gd name="connsiteX14" fmla="*/ 0 w 6855745"/>
              <a:gd name="connsiteY14" fmla="*/ 1653149 h 3140590"/>
              <a:gd name="connsiteX15" fmla="*/ 0 w 6855745"/>
              <a:gd name="connsiteY15" fmla="*/ 1653149 h 3140590"/>
              <a:gd name="connsiteX16" fmla="*/ 0 w 6855745"/>
              <a:gd name="connsiteY16" fmla="*/ 0 h 3140590"/>
              <a:gd name="connsiteX0" fmla="*/ 0 w 6855745"/>
              <a:gd name="connsiteY0" fmla="*/ 0 h 3140590"/>
              <a:gd name="connsiteX1" fmla="*/ 1142624 w 6855745"/>
              <a:gd name="connsiteY1" fmla="*/ 0 h 3140590"/>
              <a:gd name="connsiteX2" fmla="*/ 1142624 w 6855745"/>
              <a:gd name="connsiteY2" fmla="*/ 0 h 3140590"/>
              <a:gd name="connsiteX3" fmla="*/ 2856560 w 6855745"/>
              <a:gd name="connsiteY3" fmla="*/ 0 h 3140590"/>
              <a:gd name="connsiteX4" fmla="*/ 6855745 w 6855745"/>
              <a:gd name="connsiteY4" fmla="*/ 0 h 3140590"/>
              <a:gd name="connsiteX5" fmla="*/ 6855745 w 6855745"/>
              <a:gd name="connsiteY5" fmla="*/ 1653149 h 3140590"/>
              <a:gd name="connsiteX6" fmla="*/ 6855745 w 6855745"/>
              <a:gd name="connsiteY6" fmla="*/ 1653149 h 3140590"/>
              <a:gd name="connsiteX7" fmla="*/ 6855745 w 6855745"/>
              <a:gd name="connsiteY7" fmla="*/ 2361641 h 3140590"/>
              <a:gd name="connsiteX8" fmla="*/ 6855745 w 6855745"/>
              <a:gd name="connsiteY8" fmla="*/ 2833969 h 3140590"/>
              <a:gd name="connsiteX9" fmla="*/ 4056710 w 6855745"/>
              <a:gd name="connsiteY9" fmla="*/ 2833969 h 3140590"/>
              <a:gd name="connsiteX10" fmla="*/ 3761740 w 6855745"/>
              <a:gd name="connsiteY10" fmla="*/ 3140590 h 3140590"/>
              <a:gd name="connsiteX11" fmla="*/ 3447674 w 6855745"/>
              <a:gd name="connsiteY11" fmla="*/ 2853019 h 3140590"/>
              <a:gd name="connsiteX12" fmla="*/ 0 w 6855745"/>
              <a:gd name="connsiteY12" fmla="*/ 2833969 h 3140590"/>
              <a:gd name="connsiteX13" fmla="*/ 0 w 6855745"/>
              <a:gd name="connsiteY13" fmla="*/ 2361641 h 3140590"/>
              <a:gd name="connsiteX14" fmla="*/ 0 w 6855745"/>
              <a:gd name="connsiteY14" fmla="*/ 1653149 h 3140590"/>
              <a:gd name="connsiteX15" fmla="*/ 0 w 6855745"/>
              <a:gd name="connsiteY15" fmla="*/ 1653149 h 3140590"/>
              <a:gd name="connsiteX16" fmla="*/ 0 w 6855745"/>
              <a:gd name="connsiteY16" fmla="*/ 0 h 3140590"/>
              <a:gd name="connsiteX0" fmla="*/ 0 w 6855745"/>
              <a:gd name="connsiteY0" fmla="*/ 0 h 3140590"/>
              <a:gd name="connsiteX1" fmla="*/ 1142624 w 6855745"/>
              <a:gd name="connsiteY1" fmla="*/ 0 h 3140590"/>
              <a:gd name="connsiteX2" fmla="*/ 1142624 w 6855745"/>
              <a:gd name="connsiteY2" fmla="*/ 0 h 3140590"/>
              <a:gd name="connsiteX3" fmla="*/ 2856560 w 6855745"/>
              <a:gd name="connsiteY3" fmla="*/ 0 h 3140590"/>
              <a:gd name="connsiteX4" fmla="*/ 6855745 w 6855745"/>
              <a:gd name="connsiteY4" fmla="*/ 0 h 3140590"/>
              <a:gd name="connsiteX5" fmla="*/ 6855745 w 6855745"/>
              <a:gd name="connsiteY5" fmla="*/ 1653149 h 3140590"/>
              <a:gd name="connsiteX6" fmla="*/ 6855745 w 6855745"/>
              <a:gd name="connsiteY6" fmla="*/ 1653149 h 3140590"/>
              <a:gd name="connsiteX7" fmla="*/ 6855745 w 6855745"/>
              <a:gd name="connsiteY7" fmla="*/ 2361641 h 3140590"/>
              <a:gd name="connsiteX8" fmla="*/ 6855745 w 6855745"/>
              <a:gd name="connsiteY8" fmla="*/ 2833969 h 3140590"/>
              <a:gd name="connsiteX9" fmla="*/ 3675710 w 6855745"/>
              <a:gd name="connsiteY9" fmla="*/ 2833969 h 3140590"/>
              <a:gd name="connsiteX10" fmla="*/ 3761740 w 6855745"/>
              <a:gd name="connsiteY10" fmla="*/ 3140590 h 3140590"/>
              <a:gd name="connsiteX11" fmla="*/ 3447674 w 6855745"/>
              <a:gd name="connsiteY11" fmla="*/ 2853019 h 3140590"/>
              <a:gd name="connsiteX12" fmla="*/ 0 w 6855745"/>
              <a:gd name="connsiteY12" fmla="*/ 2833969 h 3140590"/>
              <a:gd name="connsiteX13" fmla="*/ 0 w 6855745"/>
              <a:gd name="connsiteY13" fmla="*/ 2361641 h 3140590"/>
              <a:gd name="connsiteX14" fmla="*/ 0 w 6855745"/>
              <a:gd name="connsiteY14" fmla="*/ 1653149 h 3140590"/>
              <a:gd name="connsiteX15" fmla="*/ 0 w 6855745"/>
              <a:gd name="connsiteY15" fmla="*/ 1653149 h 3140590"/>
              <a:gd name="connsiteX16" fmla="*/ 0 w 6855745"/>
              <a:gd name="connsiteY16" fmla="*/ 0 h 3140590"/>
              <a:gd name="connsiteX0" fmla="*/ 0 w 6855745"/>
              <a:gd name="connsiteY0" fmla="*/ 0 h 3140590"/>
              <a:gd name="connsiteX1" fmla="*/ 1142624 w 6855745"/>
              <a:gd name="connsiteY1" fmla="*/ 0 h 3140590"/>
              <a:gd name="connsiteX2" fmla="*/ 1142624 w 6855745"/>
              <a:gd name="connsiteY2" fmla="*/ 0 h 3140590"/>
              <a:gd name="connsiteX3" fmla="*/ 2856560 w 6855745"/>
              <a:gd name="connsiteY3" fmla="*/ 0 h 3140590"/>
              <a:gd name="connsiteX4" fmla="*/ 6855745 w 6855745"/>
              <a:gd name="connsiteY4" fmla="*/ 0 h 3140590"/>
              <a:gd name="connsiteX5" fmla="*/ 6855745 w 6855745"/>
              <a:gd name="connsiteY5" fmla="*/ 1653149 h 3140590"/>
              <a:gd name="connsiteX6" fmla="*/ 6855745 w 6855745"/>
              <a:gd name="connsiteY6" fmla="*/ 1653149 h 3140590"/>
              <a:gd name="connsiteX7" fmla="*/ 6855745 w 6855745"/>
              <a:gd name="connsiteY7" fmla="*/ 2361641 h 3140590"/>
              <a:gd name="connsiteX8" fmla="*/ 6855745 w 6855745"/>
              <a:gd name="connsiteY8" fmla="*/ 2833969 h 3140590"/>
              <a:gd name="connsiteX9" fmla="*/ 3675710 w 6855745"/>
              <a:gd name="connsiteY9" fmla="*/ 2833969 h 3140590"/>
              <a:gd name="connsiteX10" fmla="*/ 3761740 w 6855745"/>
              <a:gd name="connsiteY10" fmla="*/ 3140590 h 3140590"/>
              <a:gd name="connsiteX11" fmla="*/ 3093344 w 6855745"/>
              <a:gd name="connsiteY11" fmla="*/ 2841589 h 3140590"/>
              <a:gd name="connsiteX12" fmla="*/ 0 w 6855745"/>
              <a:gd name="connsiteY12" fmla="*/ 2833969 h 3140590"/>
              <a:gd name="connsiteX13" fmla="*/ 0 w 6855745"/>
              <a:gd name="connsiteY13" fmla="*/ 2361641 h 3140590"/>
              <a:gd name="connsiteX14" fmla="*/ 0 w 6855745"/>
              <a:gd name="connsiteY14" fmla="*/ 1653149 h 3140590"/>
              <a:gd name="connsiteX15" fmla="*/ 0 w 6855745"/>
              <a:gd name="connsiteY15" fmla="*/ 1653149 h 3140590"/>
              <a:gd name="connsiteX16" fmla="*/ 0 w 6855745"/>
              <a:gd name="connsiteY16" fmla="*/ 0 h 3140590"/>
              <a:gd name="connsiteX0" fmla="*/ 0 w 6855745"/>
              <a:gd name="connsiteY0" fmla="*/ 0 h 3106300"/>
              <a:gd name="connsiteX1" fmla="*/ 1142624 w 6855745"/>
              <a:gd name="connsiteY1" fmla="*/ 0 h 3106300"/>
              <a:gd name="connsiteX2" fmla="*/ 1142624 w 6855745"/>
              <a:gd name="connsiteY2" fmla="*/ 0 h 3106300"/>
              <a:gd name="connsiteX3" fmla="*/ 2856560 w 6855745"/>
              <a:gd name="connsiteY3" fmla="*/ 0 h 3106300"/>
              <a:gd name="connsiteX4" fmla="*/ 6855745 w 6855745"/>
              <a:gd name="connsiteY4" fmla="*/ 0 h 3106300"/>
              <a:gd name="connsiteX5" fmla="*/ 6855745 w 6855745"/>
              <a:gd name="connsiteY5" fmla="*/ 1653149 h 3106300"/>
              <a:gd name="connsiteX6" fmla="*/ 6855745 w 6855745"/>
              <a:gd name="connsiteY6" fmla="*/ 1653149 h 3106300"/>
              <a:gd name="connsiteX7" fmla="*/ 6855745 w 6855745"/>
              <a:gd name="connsiteY7" fmla="*/ 2361641 h 3106300"/>
              <a:gd name="connsiteX8" fmla="*/ 6855745 w 6855745"/>
              <a:gd name="connsiteY8" fmla="*/ 2833969 h 3106300"/>
              <a:gd name="connsiteX9" fmla="*/ 3675710 w 6855745"/>
              <a:gd name="connsiteY9" fmla="*/ 2833969 h 3106300"/>
              <a:gd name="connsiteX10" fmla="*/ 3403600 w 6855745"/>
              <a:gd name="connsiteY10" fmla="*/ 3106300 h 3106300"/>
              <a:gd name="connsiteX11" fmla="*/ 3093344 w 6855745"/>
              <a:gd name="connsiteY11" fmla="*/ 2841589 h 3106300"/>
              <a:gd name="connsiteX12" fmla="*/ 0 w 6855745"/>
              <a:gd name="connsiteY12" fmla="*/ 2833969 h 3106300"/>
              <a:gd name="connsiteX13" fmla="*/ 0 w 6855745"/>
              <a:gd name="connsiteY13" fmla="*/ 2361641 h 3106300"/>
              <a:gd name="connsiteX14" fmla="*/ 0 w 6855745"/>
              <a:gd name="connsiteY14" fmla="*/ 1653149 h 3106300"/>
              <a:gd name="connsiteX15" fmla="*/ 0 w 6855745"/>
              <a:gd name="connsiteY15" fmla="*/ 1653149 h 3106300"/>
              <a:gd name="connsiteX16" fmla="*/ 0 w 6855745"/>
              <a:gd name="connsiteY16" fmla="*/ 0 h 3106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855745" h="3106300">
                <a:moveTo>
                  <a:pt x="0" y="0"/>
                </a:moveTo>
                <a:lnTo>
                  <a:pt x="1142624" y="0"/>
                </a:lnTo>
                <a:lnTo>
                  <a:pt x="1142624" y="0"/>
                </a:lnTo>
                <a:lnTo>
                  <a:pt x="2856560" y="0"/>
                </a:lnTo>
                <a:lnTo>
                  <a:pt x="6855745" y="0"/>
                </a:lnTo>
                <a:lnTo>
                  <a:pt x="6855745" y="1653149"/>
                </a:lnTo>
                <a:lnTo>
                  <a:pt x="6855745" y="1653149"/>
                </a:lnTo>
                <a:lnTo>
                  <a:pt x="6855745" y="2361641"/>
                </a:lnTo>
                <a:lnTo>
                  <a:pt x="6855745" y="2833969"/>
                </a:lnTo>
                <a:lnTo>
                  <a:pt x="3675710" y="2833969"/>
                </a:lnTo>
                <a:lnTo>
                  <a:pt x="3403600" y="3106300"/>
                </a:lnTo>
                <a:lnTo>
                  <a:pt x="3093344" y="2841589"/>
                </a:lnTo>
                <a:lnTo>
                  <a:pt x="0" y="2833969"/>
                </a:lnTo>
                <a:lnTo>
                  <a:pt x="0" y="2361641"/>
                </a:lnTo>
                <a:lnTo>
                  <a:pt x="0" y="1653149"/>
                </a:lnTo>
                <a:lnTo>
                  <a:pt x="0" y="1653149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401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58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xxxx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4011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22819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00" b="1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8688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5550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7676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5674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3200" b="1" dirty="0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7872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513125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b="1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177291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2060"/>
            </a:gs>
            <a:gs pos="100000">
              <a:srgbClr val="0F2239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954928"/>
            <a:ext cx="2819400" cy="100777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3200" b="1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1013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SS 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0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1462160"/>
          </a:xfrm>
          <a:custGeom>
            <a:avLst/>
            <a:gdLst>
              <a:gd name="connsiteX0" fmla="*/ 0 w 12146170"/>
              <a:gd name="connsiteY0" fmla="*/ 0 h 1456664"/>
              <a:gd name="connsiteX1" fmla="*/ 12146170 w 12146170"/>
              <a:gd name="connsiteY1" fmla="*/ 0 h 1456664"/>
              <a:gd name="connsiteX2" fmla="*/ 12146170 w 12146170"/>
              <a:gd name="connsiteY2" fmla="*/ 1456664 h 1456664"/>
              <a:gd name="connsiteX3" fmla="*/ 0 w 12146170"/>
              <a:gd name="connsiteY3" fmla="*/ 1456664 h 1456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46170" h="1456664">
                <a:moveTo>
                  <a:pt x="0" y="0"/>
                </a:moveTo>
                <a:lnTo>
                  <a:pt x="12146170" y="0"/>
                </a:lnTo>
                <a:lnTo>
                  <a:pt x="12146170" y="1456664"/>
                </a:lnTo>
                <a:lnTo>
                  <a:pt x="0" y="1456664"/>
                </a:lnTo>
                <a:close/>
              </a:path>
            </a:pathLst>
          </a:custGeom>
        </p:spPr>
      </p:pic>
      <p:sp>
        <p:nvSpPr>
          <p:cNvPr id="10" name="Date Placeholder 56"/>
          <p:cNvSpPr>
            <a:spLocks noGrp="1"/>
          </p:cNvSpPr>
          <p:nvPr>
            <p:ph type="dt" sz="half" idx="14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319" y="1607907"/>
            <a:ext cx="10644783" cy="455069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328986" y="723399"/>
            <a:ext cx="8459798" cy="470898"/>
          </a:xfrm>
        </p:spPr>
        <p:txBody>
          <a:bodyPr anchor="b"/>
          <a:lstStyle>
            <a:lvl1pPr>
              <a:defRPr sz="34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24338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SS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4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1462160"/>
          </a:xfrm>
          <a:custGeom>
            <a:avLst/>
            <a:gdLst>
              <a:gd name="connsiteX0" fmla="*/ 0 w 12146170"/>
              <a:gd name="connsiteY0" fmla="*/ 0 h 1456664"/>
              <a:gd name="connsiteX1" fmla="*/ 12146170 w 12146170"/>
              <a:gd name="connsiteY1" fmla="*/ 0 h 1456664"/>
              <a:gd name="connsiteX2" fmla="*/ 12146170 w 12146170"/>
              <a:gd name="connsiteY2" fmla="*/ 1456664 h 1456664"/>
              <a:gd name="connsiteX3" fmla="*/ 0 w 12146170"/>
              <a:gd name="connsiteY3" fmla="*/ 1456664 h 1456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46170" h="1456664">
                <a:moveTo>
                  <a:pt x="0" y="0"/>
                </a:moveTo>
                <a:lnTo>
                  <a:pt x="12146170" y="0"/>
                </a:lnTo>
                <a:lnTo>
                  <a:pt x="12146170" y="1456664"/>
                </a:lnTo>
                <a:lnTo>
                  <a:pt x="0" y="1456664"/>
                </a:lnTo>
                <a:close/>
              </a:path>
            </a:pathLst>
          </a:custGeom>
        </p:spPr>
      </p:pic>
      <p:sp>
        <p:nvSpPr>
          <p:cNvPr id="10" name="Date Placeholder 56"/>
          <p:cNvSpPr>
            <a:spLocks noGrp="1"/>
          </p:cNvSpPr>
          <p:nvPr>
            <p:ph type="dt" sz="half" idx="14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Title 7"/>
          <p:cNvSpPr>
            <a:spLocks noGrp="1"/>
          </p:cNvSpPr>
          <p:nvPr>
            <p:ph type="title" hasCustomPrompt="1"/>
          </p:nvPr>
        </p:nvSpPr>
        <p:spPr>
          <a:xfrm>
            <a:off x="3328986" y="723399"/>
            <a:ext cx="8459798" cy="470898"/>
          </a:xfrm>
        </p:spPr>
        <p:txBody>
          <a:bodyPr anchor="b"/>
          <a:lstStyle>
            <a:lvl1pPr>
              <a:defRPr sz="3400"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17310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0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35" name="Picture 34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8471921" y="1947872"/>
            <a:ext cx="580573" cy="6858000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700" y="-1"/>
            <a:ext cx="12204700" cy="5271807"/>
          </a:xfrm>
          <a:prstGeom prst="rect">
            <a:avLst/>
          </a:prstGeom>
        </p:spPr>
      </p:pic>
      <p:sp>
        <p:nvSpPr>
          <p:cNvPr id="36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37" name="Rectangle 36"/>
          <p:cNvSpPr/>
          <p:nvPr userDrawn="1"/>
        </p:nvSpPr>
        <p:spPr bwMode="black">
          <a:xfrm>
            <a:off x="630936" y="1122820"/>
            <a:ext cx="7395464" cy="5032979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85000"/>
                </a:schemeClr>
              </a:gs>
              <a:gs pos="100000">
                <a:schemeClr val="tx2">
                  <a:alpha val="85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3703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4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3703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41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2303507"/>
            <a:ext cx="6370300" cy="272115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600" y="1243861"/>
            <a:ext cx="867048" cy="867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768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4" name="think-cell Slide" r:id="rId5" imgW="286" imgH="286" progId="TCLayout.ActiveDocument.1">
                  <p:embed/>
                </p:oleObj>
              </mc:Choice>
              <mc:Fallback>
                <p:oleObj name="think-cell Slide" r:id="rId5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1" t="8741" r="102" b="27"/>
          <a:stretch/>
        </p:blipFill>
        <p:spPr>
          <a:xfrm rot="16200000" flipH="1">
            <a:off x="8471921" y="1947872"/>
            <a:ext cx="580573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87CD4FF-1227-479F-9695-C15054D329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" r="86" b="23101"/>
          <a:stretch/>
        </p:blipFill>
        <p:spPr>
          <a:xfrm>
            <a:off x="0" y="-1"/>
            <a:ext cx="12194131" cy="5279184"/>
          </a:xfrm>
          <a:prstGeom prst="rect">
            <a:avLst/>
          </a:prstGeom>
        </p:spPr>
      </p:pic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9366561" y="5570642"/>
            <a:ext cx="1867935" cy="896833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Logo</a:t>
            </a:r>
          </a:p>
        </p:txBody>
      </p:sp>
      <p:sp>
        <p:nvSpPr>
          <p:cNvPr id="16" name="Rectangle 15"/>
          <p:cNvSpPr/>
          <p:nvPr userDrawn="1"/>
        </p:nvSpPr>
        <p:spPr bwMode="black">
          <a:xfrm>
            <a:off x="630936" y="1122820"/>
            <a:ext cx="7395464" cy="5032979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85000"/>
                </a:schemeClr>
              </a:gs>
              <a:gs pos="100000">
                <a:schemeClr val="tx2">
                  <a:alpha val="85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3703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3703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2303507"/>
            <a:ext cx="6370300" cy="272115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600" y="1243861"/>
            <a:ext cx="867048" cy="867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68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9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27.xml"/><Relationship Id="rId34" Type="http://schemas.openxmlformats.org/officeDocument/2006/relationships/slideLayout" Target="../slideLayouts/slideLayout40.xml"/><Relationship Id="rId42" Type="http://schemas.openxmlformats.org/officeDocument/2006/relationships/slideLayout" Target="../slideLayouts/slideLayout48.xml"/><Relationship Id="rId47" Type="http://schemas.openxmlformats.org/officeDocument/2006/relationships/slideLayout" Target="../slideLayouts/slideLayout53.xml"/><Relationship Id="rId50" Type="http://schemas.openxmlformats.org/officeDocument/2006/relationships/slideLayout" Target="../slideLayouts/slideLayout56.xml"/><Relationship Id="rId55" Type="http://schemas.openxmlformats.org/officeDocument/2006/relationships/slideLayout" Target="../slideLayouts/slideLayout61.xml"/><Relationship Id="rId63" Type="http://schemas.openxmlformats.org/officeDocument/2006/relationships/slideLayout" Target="../slideLayouts/slideLayout69.xml"/><Relationship Id="rId68" Type="http://schemas.openxmlformats.org/officeDocument/2006/relationships/slideLayout" Target="../slideLayouts/slideLayout74.xml"/><Relationship Id="rId76" Type="http://schemas.openxmlformats.org/officeDocument/2006/relationships/tags" Target="../tags/tag1.xml"/><Relationship Id="rId7" Type="http://schemas.openxmlformats.org/officeDocument/2006/relationships/slideLayout" Target="../slideLayouts/slideLayout13.xml"/><Relationship Id="rId71" Type="http://schemas.openxmlformats.org/officeDocument/2006/relationships/slideLayout" Target="../slideLayouts/slideLayout77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9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slideLayout" Target="../slideLayouts/slideLayout38.xml"/><Relationship Id="rId37" Type="http://schemas.openxmlformats.org/officeDocument/2006/relationships/slideLayout" Target="../slideLayouts/slideLayout43.xml"/><Relationship Id="rId40" Type="http://schemas.openxmlformats.org/officeDocument/2006/relationships/slideLayout" Target="../slideLayouts/slideLayout46.xml"/><Relationship Id="rId45" Type="http://schemas.openxmlformats.org/officeDocument/2006/relationships/slideLayout" Target="../slideLayouts/slideLayout51.xml"/><Relationship Id="rId53" Type="http://schemas.openxmlformats.org/officeDocument/2006/relationships/slideLayout" Target="../slideLayouts/slideLayout59.xml"/><Relationship Id="rId58" Type="http://schemas.openxmlformats.org/officeDocument/2006/relationships/slideLayout" Target="../slideLayouts/slideLayout64.xml"/><Relationship Id="rId66" Type="http://schemas.openxmlformats.org/officeDocument/2006/relationships/slideLayout" Target="../slideLayouts/slideLayout72.xml"/><Relationship Id="rId74" Type="http://schemas.openxmlformats.org/officeDocument/2006/relationships/theme" Target="../theme/theme5.xml"/><Relationship Id="rId79" Type="http://schemas.openxmlformats.org/officeDocument/2006/relationships/image" Target="../media/image5.emf"/><Relationship Id="rId5" Type="http://schemas.openxmlformats.org/officeDocument/2006/relationships/slideLayout" Target="../slideLayouts/slideLayout11.xml"/><Relationship Id="rId61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37.xml"/><Relationship Id="rId44" Type="http://schemas.openxmlformats.org/officeDocument/2006/relationships/slideLayout" Target="../slideLayouts/slideLayout50.xml"/><Relationship Id="rId52" Type="http://schemas.openxmlformats.org/officeDocument/2006/relationships/slideLayout" Target="../slideLayouts/slideLayout58.xml"/><Relationship Id="rId60" Type="http://schemas.openxmlformats.org/officeDocument/2006/relationships/slideLayout" Target="../slideLayouts/slideLayout66.xml"/><Relationship Id="rId65" Type="http://schemas.openxmlformats.org/officeDocument/2006/relationships/slideLayout" Target="../slideLayouts/slideLayout71.xml"/><Relationship Id="rId73" Type="http://schemas.openxmlformats.org/officeDocument/2006/relationships/slideLayout" Target="../slideLayouts/slideLayout79.xml"/><Relationship Id="rId78" Type="http://schemas.openxmlformats.org/officeDocument/2006/relationships/oleObject" Target="../embeddings/oleObject1.bin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41.xml"/><Relationship Id="rId43" Type="http://schemas.openxmlformats.org/officeDocument/2006/relationships/slideLayout" Target="../slideLayouts/slideLayout49.xml"/><Relationship Id="rId48" Type="http://schemas.openxmlformats.org/officeDocument/2006/relationships/slideLayout" Target="../slideLayouts/slideLayout54.xml"/><Relationship Id="rId56" Type="http://schemas.openxmlformats.org/officeDocument/2006/relationships/slideLayout" Target="../slideLayouts/slideLayout62.xml"/><Relationship Id="rId64" Type="http://schemas.openxmlformats.org/officeDocument/2006/relationships/slideLayout" Target="../slideLayouts/slideLayout70.xml"/><Relationship Id="rId69" Type="http://schemas.openxmlformats.org/officeDocument/2006/relationships/slideLayout" Target="../slideLayouts/slideLayout75.xml"/><Relationship Id="rId77" Type="http://schemas.openxmlformats.org/officeDocument/2006/relationships/tags" Target="../tags/tag2.xml"/><Relationship Id="rId8" Type="http://schemas.openxmlformats.org/officeDocument/2006/relationships/slideLayout" Target="../slideLayouts/slideLayout14.xml"/><Relationship Id="rId51" Type="http://schemas.openxmlformats.org/officeDocument/2006/relationships/slideLayout" Target="../slideLayouts/slideLayout57.xml"/><Relationship Id="rId72" Type="http://schemas.openxmlformats.org/officeDocument/2006/relationships/slideLayout" Target="../slideLayouts/slideLayout78.xml"/><Relationship Id="rId3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44.xml"/><Relationship Id="rId46" Type="http://schemas.openxmlformats.org/officeDocument/2006/relationships/slideLayout" Target="../slideLayouts/slideLayout52.xml"/><Relationship Id="rId59" Type="http://schemas.openxmlformats.org/officeDocument/2006/relationships/slideLayout" Target="../slideLayouts/slideLayout65.xml"/><Relationship Id="rId67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26.xml"/><Relationship Id="rId41" Type="http://schemas.openxmlformats.org/officeDocument/2006/relationships/slideLayout" Target="../slideLayouts/slideLayout47.xml"/><Relationship Id="rId54" Type="http://schemas.openxmlformats.org/officeDocument/2006/relationships/slideLayout" Target="../slideLayouts/slideLayout60.xml"/><Relationship Id="rId62" Type="http://schemas.openxmlformats.org/officeDocument/2006/relationships/slideLayout" Target="../slideLayouts/slideLayout68.xml"/><Relationship Id="rId70" Type="http://schemas.openxmlformats.org/officeDocument/2006/relationships/slideLayout" Target="../slideLayouts/slideLayout76.xml"/><Relationship Id="rId75" Type="http://schemas.openxmlformats.org/officeDocument/2006/relationships/vmlDrawing" Target="../drawings/vmlDrawing1.v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slideLayout" Target="../slideLayouts/slideLayout42.xml"/><Relationship Id="rId49" Type="http://schemas.openxmlformats.org/officeDocument/2006/relationships/slideLayout" Target="../slideLayouts/slideLayout55.xml"/><Relationship Id="rId57" Type="http://schemas.openxmlformats.org/officeDocument/2006/relationships/slideLayout" Target="../slideLayouts/slideLayout6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826" y="-27156"/>
            <a:ext cx="3652111" cy="2126112"/>
          </a:xfrm>
          <a:prstGeom prst="rect">
            <a:avLst/>
          </a:prstGeom>
        </p:spPr>
      </p:pic>
      <p:sp>
        <p:nvSpPr>
          <p:cNvPr id="8" name="Rectangle 7"/>
          <p:cNvSpPr txBox="1">
            <a:spLocks noChangeArrowheads="1"/>
          </p:cNvSpPr>
          <p:nvPr userDrawn="1"/>
        </p:nvSpPr>
        <p:spPr bwMode="auto">
          <a:xfrm>
            <a:off x="936741" y="6422087"/>
            <a:ext cx="4074858" cy="372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43" tIns="34271" rIns="68543" bIns="34271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1800" b="0" i="0" dirty="0" smtClean="0">
                <a:solidFill>
                  <a:srgbClr val="002060"/>
                </a:solidFill>
                <a:latin typeface="Franklin Gothic Demi" panose="020B0703020102020204" pitchFamily="34" charset="0"/>
                <a:cs typeface="Arial" charset="0"/>
              </a:rPr>
              <a:t>READY. RESOURCEFUL.</a:t>
            </a:r>
            <a:r>
              <a:rPr lang="en-US" altLang="en-US" sz="1800" b="0" i="0" baseline="0" dirty="0" smtClean="0">
                <a:solidFill>
                  <a:srgbClr val="002060"/>
                </a:solidFill>
                <a:latin typeface="Franklin Gothic Demi" panose="020B0703020102020204" pitchFamily="34" charset="0"/>
                <a:cs typeface="Arial" charset="0"/>
              </a:rPr>
              <a:t> RESPONSIVE.</a:t>
            </a:r>
            <a:endParaRPr lang="en-US" altLang="en-US" sz="1800" b="0" i="0" dirty="0" smtClean="0">
              <a:solidFill>
                <a:srgbClr val="002060"/>
              </a:solidFill>
              <a:latin typeface="Franklin Gothic Demi" panose="020B070302010202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0337085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 txBox="1">
            <a:spLocks noChangeArrowheads="1"/>
          </p:cNvSpPr>
          <p:nvPr userDrawn="1"/>
        </p:nvSpPr>
        <p:spPr bwMode="auto">
          <a:xfrm>
            <a:off x="7555534" y="5628380"/>
            <a:ext cx="3615982" cy="498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43" tIns="34271" rIns="68543" bIns="34271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1600" b="0" i="0" dirty="0" smtClean="0">
                <a:solidFill>
                  <a:srgbClr val="002060"/>
                </a:solidFill>
                <a:latin typeface="Franklin Gothic Demi" panose="020B0703020102020204" pitchFamily="34" charset="0"/>
                <a:cs typeface="Arial" charset="0"/>
              </a:rPr>
              <a:t>READY. RESOURCEFUL.</a:t>
            </a:r>
            <a:r>
              <a:rPr lang="en-US" altLang="en-US" sz="1600" b="0" i="0" baseline="0" dirty="0" smtClean="0">
                <a:solidFill>
                  <a:srgbClr val="002060"/>
                </a:solidFill>
                <a:latin typeface="Franklin Gothic Demi" panose="020B0703020102020204" pitchFamily="34" charset="0"/>
                <a:cs typeface="Arial" charset="0"/>
              </a:rPr>
              <a:t> RESPONSIVE.</a:t>
            </a:r>
            <a:endParaRPr lang="en-US" altLang="en-US" sz="1600" b="0" i="0" dirty="0" smtClean="0">
              <a:solidFill>
                <a:srgbClr val="002060"/>
              </a:solidFill>
              <a:latin typeface="Franklin Gothic Demi" panose="020B0703020102020204" pitchFamily="34" charset="0"/>
              <a:cs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826" y="-239590"/>
            <a:ext cx="2886601" cy="1680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476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445240" y="6480091"/>
            <a:ext cx="672872" cy="368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D432D09-116F-4781-84DB-B2C773F5F21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096" y="-98332"/>
            <a:ext cx="12194096" cy="150953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60205" y="798843"/>
            <a:ext cx="7893595" cy="369332"/>
          </a:xfrm>
          <a:prstGeom prst="rect">
            <a:avLst/>
          </a:prstGeom>
        </p:spPr>
        <p:txBody>
          <a:bodyPr vert="horz" lIns="0" tIns="0" rIns="0" bIns="45720" rtlCol="0" anchor="b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3500" y="1607907"/>
            <a:ext cx="10515600" cy="4351338"/>
          </a:xfrm>
          <a:prstGeom prst="rect">
            <a:avLst/>
          </a:prstGeom>
        </p:spPr>
        <p:txBody>
          <a:bodyPr vert="horz" lIns="0" tIns="0" rIns="0" bIns="45720" rtlCol="0">
            <a:noAutofit/>
          </a:bodyPr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9085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000" kern="1200" dirty="0" smtClean="0">
          <a:solidFill>
            <a:srgbClr val="002060"/>
          </a:solidFill>
          <a:latin typeface="Arial Bold" panose="020B0704020202020204" pitchFamily="34" charset="0"/>
          <a:ea typeface="+mj-ea"/>
          <a:cs typeface="Arial Bold" panose="020B0704020202020204" pitchFamily="34" charset="0"/>
        </a:defRPr>
      </a:lvl1pPr>
    </p:titleStyle>
    <p:bodyStyle>
      <a:lvl1pPr marL="168275" indent="-168275" algn="l" defTabSz="914400" rtl="0" eaLnBrk="1" latinLnBrk="0" hangingPunct="1">
        <a:lnSpc>
          <a:spcPct val="90000"/>
        </a:lnSpc>
        <a:spcBef>
          <a:spcPts val="1000"/>
        </a:spcBef>
        <a:buClr>
          <a:srgbClr val="002A7E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00050" indent="-174625" algn="l" defTabSz="914400" rtl="0" eaLnBrk="1" latinLnBrk="0" hangingPunct="1">
        <a:lnSpc>
          <a:spcPct val="90000"/>
        </a:lnSpc>
        <a:spcBef>
          <a:spcPts val="500"/>
        </a:spcBef>
        <a:buClr>
          <a:srgbClr val="002060"/>
        </a:buClr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74675" indent="-114300" algn="l" defTabSz="914400" rtl="0" eaLnBrk="1" latinLnBrk="0" hangingPunct="1">
        <a:lnSpc>
          <a:spcPct val="90000"/>
        </a:lnSpc>
        <a:spcBef>
          <a:spcPts val="500"/>
        </a:spcBef>
        <a:buClr>
          <a:srgbClr val="002A7E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801688" indent="-174625" algn="l" defTabSz="914400" rtl="0" eaLnBrk="1" latinLnBrk="0" hangingPunct="1">
        <a:lnSpc>
          <a:spcPct val="90000"/>
        </a:lnSpc>
        <a:spcBef>
          <a:spcPts val="500"/>
        </a:spcBef>
        <a:buClr>
          <a:srgbClr val="002A7E"/>
        </a:buClr>
        <a:buFont typeface="Arial" panose="020B0604020202020204" pitchFamily="34" charset="0"/>
        <a:buChar char="‒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27113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2A7E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7" y="1209670"/>
            <a:ext cx="12192000" cy="560070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1551920" y="6476803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48E81AA-BD0A-4C2A-851C-6C11061E97C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98332"/>
            <a:ext cx="12192000" cy="1509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642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2" name="think-cell Slide" r:id="rId78" imgW="270" imgH="270" progId="TCLayout.ActiveDocument.1">
                  <p:embed/>
                </p:oleObj>
              </mc:Choice>
              <mc:Fallback>
                <p:oleObj name="think-cell Slide" r:id="rId7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486401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  <p:sldLayoutId id="2147483732" r:id="rId21"/>
    <p:sldLayoutId id="2147483733" r:id="rId22"/>
    <p:sldLayoutId id="2147483734" r:id="rId23"/>
    <p:sldLayoutId id="2147483735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2" r:id="rId31"/>
    <p:sldLayoutId id="2147483743" r:id="rId32"/>
    <p:sldLayoutId id="2147483744" r:id="rId33"/>
    <p:sldLayoutId id="2147483745" r:id="rId34"/>
    <p:sldLayoutId id="2147483746" r:id="rId35"/>
    <p:sldLayoutId id="2147483747" r:id="rId36"/>
    <p:sldLayoutId id="2147483748" r:id="rId37"/>
    <p:sldLayoutId id="2147483749" r:id="rId38"/>
    <p:sldLayoutId id="2147483750" r:id="rId39"/>
    <p:sldLayoutId id="2147483751" r:id="rId40"/>
    <p:sldLayoutId id="2147483752" r:id="rId41"/>
    <p:sldLayoutId id="2147483753" r:id="rId42"/>
    <p:sldLayoutId id="2147483754" r:id="rId43"/>
    <p:sldLayoutId id="2147483755" r:id="rId44"/>
    <p:sldLayoutId id="2147483756" r:id="rId45"/>
    <p:sldLayoutId id="2147483757" r:id="rId46"/>
    <p:sldLayoutId id="2147483758" r:id="rId47"/>
    <p:sldLayoutId id="2147483759" r:id="rId48"/>
    <p:sldLayoutId id="2147483760" r:id="rId49"/>
    <p:sldLayoutId id="2147483761" r:id="rId50"/>
    <p:sldLayoutId id="2147483762" r:id="rId51"/>
    <p:sldLayoutId id="2147483763" r:id="rId52"/>
    <p:sldLayoutId id="2147483764" r:id="rId53"/>
    <p:sldLayoutId id="2147483765" r:id="rId54"/>
    <p:sldLayoutId id="2147483766" r:id="rId55"/>
    <p:sldLayoutId id="2147483767" r:id="rId56"/>
    <p:sldLayoutId id="2147483768" r:id="rId57"/>
    <p:sldLayoutId id="2147483769" r:id="rId58"/>
    <p:sldLayoutId id="2147483770" r:id="rId59"/>
    <p:sldLayoutId id="2147483771" r:id="rId60"/>
    <p:sldLayoutId id="2147483772" r:id="rId61"/>
    <p:sldLayoutId id="2147483773" r:id="rId62"/>
    <p:sldLayoutId id="2147483774" r:id="rId63"/>
    <p:sldLayoutId id="2147483775" r:id="rId64"/>
    <p:sldLayoutId id="2147483776" r:id="rId65"/>
    <p:sldLayoutId id="2147483777" r:id="rId66"/>
    <p:sldLayoutId id="2147483778" r:id="rId67"/>
    <p:sldLayoutId id="2147483779" r:id="rId68"/>
    <p:sldLayoutId id="2147483780" r:id="rId69"/>
    <p:sldLayoutId id="2147483781" r:id="rId70"/>
    <p:sldLayoutId id="2147483782" r:id="rId71"/>
    <p:sldLayoutId id="2147483783" r:id="rId72"/>
    <p:sldLayoutId id="2147483784" r:id="rId7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002060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002060"/>
        </a:buClr>
        <a:buFont typeface="Arial" panose="020B0604020202020204" pitchFamily="34" charset="0"/>
        <a:buChar char="​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2060"/>
        </a:buClr>
        <a:buFont typeface="Arial" panose="020B0604020202020204" pitchFamily="34" charset="0"/>
        <a:buChar char="•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2060"/>
        </a:buClr>
        <a:buFont typeface="Trebuchet MS" panose="020B0603020202020204" pitchFamily="34" charset="0"/>
        <a:buChar char="–"/>
        <a:defRPr lang="en-US" sz="1200" kern="1200">
          <a:solidFill>
            <a:srgbClr val="000000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002060"/>
        </a:buClr>
        <a:buFont typeface="Arial" panose="020B0604020202020204" pitchFamily="34" charset="0"/>
        <a:buChar char="​"/>
        <a:defRPr lang="en-US" sz="1600" kern="1200">
          <a:solidFill>
            <a:srgbClr val="002060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2060"/>
        </a:buClr>
        <a:buFont typeface="Arial" panose="020B0604020202020204" pitchFamily="34" charset="0"/>
        <a:buChar char="​"/>
        <a:defRPr lang="en-US" sz="1600" b="1" kern="1200" smtClean="0">
          <a:solidFill>
            <a:srgbClr val="000000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2060"/>
        </a:buClr>
        <a:buFont typeface="Arial" panose="020B0604020202020204" pitchFamily="34" charset="0"/>
        <a:buChar char="•"/>
        <a:defRPr lang="en-US" sz="1600" kern="1200" smtClean="0">
          <a:solidFill>
            <a:srgbClr val="000000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02060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000000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02060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002060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02060"/>
        </a:buClr>
        <a:buFont typeface="Arial" panose="020B0604020202020204" pitchFamily="34" charset="0"/>
        <a:buChar char="​"/>
        <a:defRPr lang="en-US" sz="2400" kern="1200" baseline="0" dirty="0">
          <a:solidFill>
            <a:srgbClr val="002060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image" Target="../media/image31.emf"/><Relationship Id="rId2" Type="http://schemas.openxmlformats.org/officeDocument/2006/relationships/tags" Target="../tags/tag129.xml"/><Relationship Id="rId1" Type="http://schemas.openxmlformats.org/officeDocument/2006/relationships/vmlDrawing" Target="../drawings/vmlDrawing75.vml"/><Relationship Id="rId6" Type="http://schemas.openxmlformats.org/officeDocument/2006/relationships/oleObject" Target="../embeddings/oleObject7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tags" Target="../tags/tag132.xml"/><Relationship Id="rId7" Type="http://schemas.openxmlformats.org/officeDocument/2006/relationships/image" Target="../media/image31.emf"/><Relationship Id="rId2" Type="http://schemas.openxmlformats.org/officeDocument/2006/relationships/tags" Target="../tags/tag131.xml"/><Relationship Id="rId1" Type="http://schemas.openxmlformats.org/officeDocument/2006/relationships/vmlDrawing" Target="../drawings/vmlDrawing76.vml"/><Relationship Id="rId6" Type="http://schemas.openxmlformats.org/officeDocument/2006/relationships/oleObject" Target="../embeddings/oleObject7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tags" Target="../tags/tag134.xml"/><Relationship Id="rId7" Type="http://schemas.openxmlformats.org/officeDocument/2006/relationships/image" Target="../media/image31.emf"/><Relationship Id="rId2" Type="http://schemas.openxmlformats.org/officeDocument/2006/relationships/tags" Target="../tags/tag133.xml"/><Relationship Id="rId1" Type="http://schemas.openxmlformats.org/officeDocument/2006/relationships/vmlDrawing" Target="../drawings/vmlDrawing77.vml"/><Relationship Id="rId6" Type="http://schemas.openxmlformats.org/officeDocument/2006/relationships/oleObject" Target="../embeddings/oleObject77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7" Type="http://schemas.openxmlformats.org/officeDocument/2006/relationships/image" Target="../media/image31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78.vml"/><Relationship Id="rId6" Type="http://schemas.openxmlformats.org/officeDocument/2006/relationships/oleObject" Target="../embeddings/oleObject78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7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7" Type="http://schemas.openxmlformats.org/officeDocument/2006/relationships/image" Target="../media/image31.emf"/><Relationship Id="rId2" Type="http://schemas.openxmlformats.org/officeDocument/2006/relationships/tags" Target="../tags/tag137.xml"/><Relationship Id="rId1" Type="http://schemas.openxmlformats.org/officeDocument/2006/relationships/vmlDrawing" Target="../drawings/vmlDrawing79.vml"/><Relationship Id="rId6" Type="http://schemas.openxmlformats.org/officeDocument/2006/relationships/oleObject" Target="../embeddings/oleObject79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7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7" Type="http://schemas.openxmlformats.org/officeDocument/2006/relationships/image" Target="../media/image31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80.vml"/><Relationship Id="rId6" Type="http://schemas.openxmlformats.org/officeDocument/2006/relationships/oleObject" Target="../embeddings/oleObject80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7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7" Type="http://schemas.openxmlformats.org/officeDocument/2006/relationships/image" Target="../media/image31.emf"/><Relationship Id="rId2" Type="http://schemas.openxmlformats.org/officeDocument/2006/relationships/tags" Target="../tags/tag141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81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7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8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704514" y="4450774"/>
            <a:ext cx="3537344" cy="683264"/>
          </a:xfrm>
        </p:spPr>
        <p:txBody>
          <a:bodyPr/>
          <a:lstStyle/>
          <a:p>
            <a:r>
              <a:rPr lang="en-US" dirty="0" smtClean="0"/>
              <a:t>A brief overview of Naval Sustainment System-Suppl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13 Nov </a:t>
            </a:r>
            <a:r>
              <a:rPr lang="en-US" dirty="0"/>
              <a:t>2020</a:t>
            </a:r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sz="4000" dirty="0" err="1"/>
              <a:t>NSS</a:t>
            </a:r>
            <a:r>
              <a:rPr lang="en-US" sz="4000" dirty="0"/>
              <a:t>-SUPP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8773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8A2E2D29-7BBD-416F-BC9F-3BDE945726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51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8A2E2D29-7BBD-416F-BC9F-3BDE945726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2657" y="0"/>
            <a:ext cx="12202886" cy="7162800"/>
          </a:xfrm>
          <a:prstGeom prst="rect">
            <a:avLst/>
          </a:prstGeom>
        </p:spPr>
      </p:pic>
      <p:sp>
        <p:nvSpPr>
          <p:cNvPr id="18" name="GradientOverlay"/>
          <p:cNvSpPr/>
          <p:nvPr>
            <p:custDataLst>
              <p:tags r:id="rId3"/>
            </p:custDataLst>
          </p:nvPr>
        </p:nvSpPr>
        <p:spPr>
          <a:xfrm>
            <a:off x="-43543" y="0"/>
            <a:ext cx="12224657" cy="7162800"/>
          </a:xfrm>
          <a:prstGeom prst="rect">
            <a:avLst/>
          </a:prstGeom>
          <a:solidFill>
            <a:srgbClr val="000000">
              <a:alpha val="54000"/>
            </a:srgbClr>
          </a:solidFill>
          <a:ln w="95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628650" y="1714500"/>
            <a:ext cx="10934700" cy="4524375"/>
          </a:xfrm>
        </p:spPr>
        <p:txBody>
          <a:bodyPr/>
          <a:lstStyle/>
          <a:p>
            <a:pPr>
              <a:lnSpc>
                <a:spcPct val="90000"/>
              </a:lnSpc>
              <a:spcAft>
                <a:spcPts val="600"/>
              </a:spcAft>
              <a:buNone/>
            </a:pPr>
            <a:r>
              <a:rPr lang="en-US" sz="3200" b="1" dirty="0" smtClean="0">
                <a:solidFill>
                  <a:srgbClr val="FFFFFF"/>
                </a:solidFill>
                <a:latin typeface="Trebuchet MS" panose="020B0603020202020204" pitchFamily="34" charset="0"/>
              </a:rPr>
              <a:t>We </a:t>
            </a:r>
            <a:r>
              <a:rPr lang="en-US" sz="3200" b="1" dirty="0">
                <a:solidFill>
                  <a:srgbClr val="FFFFFF"/>
                </a:solidFill>
                <a:latin typeface="Trebuchet MS" panose="020B0603020202020204" pitchFamily="34" charset="0"/>
              </a:rPr>
              <a:t>are in an era of great power competition and urgently need to prepare</a:t>
            </a:r>
          </a:p>
          <a:p>
            <a:pPr marL="518400" lvl="1" indent="-345600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buSzPct val="100000"/>
              <a:buFont typeface="Trebuchet MS" panose="020B0603020202020204" pitchFamily="34" charset="0"/>
              <a:buChar char="•"/>
            </a:pPr>
            <a:r>
              <a:rPr lang="en-US" sz="2400" dirty="0">
                <a:solidFill>
                  <a:srgbClr val="FFFFFF"/>
                </a:solidFill>
                <a:latin typeface="Trebuchet MS" panose="020B0603020202020204" pitchFamily="34" charset="0"/>
              </a:rPr>
              <a:t>More steaming days, more underwater days, more ready aircraft</a:t>
            </a:r>
          </a:p>
          <a:p>
            <a:pPr>
              <a:lnSpc>
                <a:spcPct val="90000"/>
              </a:lnSpc>
              <a:spcAft>
                <a:spcPts val="600"/>
              </a:spcAft>
              <a:buNone/>
            </a:pPr>
            <a:r>
              <a:rPr lang="en-US" sz="3200" b="1" dirty="0">
                <a:solidFill>
                  <a:srgbClr val="FFFFFF"/>
                </a:solidFill>
                <a:latin typeface="Trebuchet MS" panose="020B0603020202020204" pitchFamily="34" charset="0"/>
              </a:rPr>
              <a:t/>
            </a:r>
            <a:br>
              <a:rPr lang="en-US" sz="3200" b="1" dirty="0">
                <a:solidFill>
                  <a:srgbClr val="FFFFFF"/>
                </a:solidFill>
                <a:latin typeface="Trebuchet MS" panose="020B0603020202020204" pitchFamily="34" charset="0"/>
              </a:rPr>
            </a:br>
            <a:r>
              <a:rPr lang="en-US" sz="3200" b="1" dirty="0" smtClean="0">
                <a:solidFill>
                  <a:srgbClr val="FFFFFF"/>
                </a:solidFill>
                <a:latin typeface="Trebuchet MS" panose="020B0603020202020204" pitchFamily="34" charset="0"/>
              </a:rPr>
              <a:t>Our </a:t>
            </a:r>
            <a:r>
              <a:rPr lang="en-US" sz="3200" b="1" dirty="0">
                <a:solidFill>
                  <a:srgbClr val="FFFFFF"/>
                </a:solidFill>
                <a:latin typeface="Trebuchet MS" panose="020B0603020202020204" pitchFamily="34" charset="0"/>
              </a:rPr>
              <a:t>supply chains are untimely, costly, and do not generate sufficient readiness</a:t>
            </a:r>
          </a:p>
          <a:p>
            <a:pPr>
              <a:lnSpc>
                <a:spcPct val="90000"/>
              </a:lnSpc>
              <a:spcAft>
                <a:spcPts val="600"/>
              </a:spcAft>
              <a:buNone/>
            </a:pPr>
            <a:r>
              <a:rPr lang="en-US" sz="3200" b="1" dirty="0">
                <a:solidFill>
                  <a:srgbClr val="FFFFFF"/>
                </a:solidFill>
                <a:latin typeface="Trebuchet MS" panose="020B0603020202020204" pitchFamily="34" charset="0"/>
              </a:rPr>
              <a:t/>
            </a:r>
            <a:br>
              <a:rPr lang="en-US" sz="3200" b="1" dirty="0">
                <a:solidFill>
                  <a:srgbClr val="FFFFFF"/>
                </a:solidFill>
                <a:latin typeface="Trebuchet MS" panose="020B0603020202020204" pitchFamily="34" charset="0"/>
              </a:rPr>
            </a:br>
            <a:r>
              <a:rPr lang="en-US" sz="3200" b="1" dirty="0" smtClean="0">
                <a:solidFill>
                  <a:srgbClr val="FFFFFF"/>
                </a:solidFill>
                <a:latin typeface="Trebuchet MS" panose="020B0603020202020204" pitchFamily="34" charset="0"/>
              </a:rPr>
              <a:t>A </a:t>
            </a:r>
            <a:r>
              <a:rPr lang="en-US" sz="3200" b="1" dirty="0">
                <a:solidFill>
                  <a:srgbClr val="FFFFFF"/>
                </a:solidFill>
                <a:latin typeface="Trebuchet MS" panose="020B0603020202020204" pitchFamily="34" charset="0"/>
              </a:rPr>
              <a:t>higher performing Navy needs a new way to manage our supply chains end-to-end </a:t>
            </a:r>
            <a:r>
              <a:rPr lang="en-US" sz="3200" b="1" dirty="0" smtClean="0">
                <a:solidFill>
                  <a:srgbClr val="FFFFFF"/>
                </a:solidFill>
                <a:latin typeface="Trebuchet MS" panose="020B0603020202020204" pitchFamily="34" charset="0"/>
              </a:rPr>
              <a:t>(E2E)</a:t>
            </a:r>
            <a:endParaRPr lang="en-US" sz="3200" b="1" dirty="0">
              <a:solidFill>
                <a:srgbClr val="FFFFFF"/>
              </a:solidFill>
            </a:endParaRPr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37C64009-42E9-45EE-98E0-D87606C221F7}"/>
              </a:ext>
            </a:extLst>
          </p:cNvPr>
          <p:cNvSpPr txBox="1">
            <a:spLocks/>
          </p:cNvSpPr>
          <p:nvPr/>
        </p:nvSpPr>
        <p:spPr>
          <a:xfrm>
            <a:off x="2869008" y="457200"/>
            <a:ext cx="6453984" cy="6286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20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lang="en-US" sz="20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t>Why NSS-SUPPLY?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1499274" y="6446982"/>
            <a:ext cx="277091" cy="23007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38868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48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CFCFC5F-56BA-4952-9692-905653D7FF7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4363882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5218" y="525147"/>
            <a:ext cx="7012285" cy="886397"/>
          </a:xfrm>
        </p:spPr>
        <p:txBody>
          <a:bodyPr/>
          <a:lstStyle/>
          <a:p>
            <a:r>
              <a:rPr lang="en-US" dirty="0"/>
              <a:t>NSS-SUPPLY is a new </a:t>
            </a:r>
            <a:r>
              <a:rPr lang="en-US" dirty="0" smtClean="0"/>
              <a:t>approach, </a:t>
            </a:r>
            <a:br>
              <a:rPr lang="en-US" dirty="0" smtClean="0"/>
            </a:br>
            <a:r>
              <a:rPr lang="en-US" dirty="0" smtClean="0"/>
              <a:t>not a new Mission </a:t>
            </a:r>
            <a:endParaRPr lang="en-US" sz="2800" dirty="0"/>
          </a:p>
        </p:txBody>
      </p:sp>
      <p:sp>
        <p:nvSpPr>
          <p:cNvPr id="5" name="Rectangle 4"/>
          <p:cNvSpPr/>
          <p:nvPr/>
        </p:nvSpPr>
        <p:spPr>
          <a:xfrm>
            <a:off x="4635218" y="1714500"/>
            <a:ext cx="6928133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 cross-domain "mission partner" approach to coordinate and integrate our supply chains 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2E</a:t>
            </a:r>
            <a:b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</a:b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/>
            </a:r>
            <a:b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</a:b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e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ill take control of our supply chains and, as a leadership team, set the strategic conditions required for mission 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erformance</a:t>
            </a:r>
            <a:b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</a:b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/>
            </a:r>
            <a:b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</a:br>
            <a:r>
              <a:rPr kumimoji="0" lang="en-US" sz="24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veryone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as a role to play and must act togeth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8301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93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24200" y="95903"/>
            <a:ext cx="8459798" cy="941796"/>
          </a:xfrm>
        </p:spPr>
        <p:txBody>
          <a:bodyPr/>
          <a:lstStyle/>
          <a:p>
            <a:r>
              <a:rPr lang="en-US" dirty="0"/>
              <a:t>NAVSUP designated supported commander for </a:t>
            </a:r>
            <a:r>
              <a:rPr lang="en-US" dirty="0" err="1"/>
              <a:t>NSS</a:t>
            </a:r>
            <a:r>
              <a:rPr lang="en-US" dirty="0"/>
              <a:t>-SUPPL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37A1622-7FEB-46D5-8C20-9C1BB61FCE7B}"/>
              </a:ext>
            </a:extLst>
          </p:cNvPr>
          <p:cNvSpPr/>
          <p:nvPr/>
        </p:nvSpPr>
        <p:spPr>
          <a:xfrm>
            <a:off x="638175" y="1728123"/>
            <a:ext cx="1093470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We will orchestrate, integrate, and synchronize E2E supply chain 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erformance</a:t>
            </a:r>
            <a:b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</a:b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/>
            </a:r>
            <a:b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</a:b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o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ccomplish this, NAVSUP will set Pillar targets driven by TYCOM requirements and supply chain effectiveness "North Star" 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performance</a:t>
            </a:r>
            <a:b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</a:b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/>
            </a:r>
            <a:b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</a:b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This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ew approach inverts the historical supported/supporting relationships to drive higher supply chain performance E2E</a:t>
            </a:r>
          </a:p>
        </p:txBody>
      </p:sp>
    </p:spTree>
    <p:extLst>
      <p:ext uri="{BB962C8B-B14F-4D97-AF65-F5344CB8AC3E}">
        <p14:creationId xmlns:p14="http://schemas.microsoft.com/office/powerpoint/2010/main" val="3286749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Rectangle 77">
            <a:extLst>
              <a:ext uri="{FF2B5EF4-FFF2-40B4-BE49-F238E27FC236}">
                <a16:creationId xmlns:a16="http://schemas.microsoft.com/office/drawing/2014/main" id="{755903A7-D47F-432D-B9BA-E03FE218C76E}"/>
              </a:ext>
            </a:extLst>
          </p:cNvPr>
          <p:cNvSpPr/>
          <p:nvPr/>
        </p:nvSpPr>
        <p:spPr>
          <a:xfrm>
            <a:off x="1873013" y="2148596"/>
            <a:ext cx="9248695" cy="743710"/>
          </a:xfrm>
          <a:prstGeom prst="rect">
            <a:avLst/>
          </a:prstGeom>
          <a:solidFill>
            <a:srgbClr val="980C13"/>
          </a:solidFill>
          <a:ln w="25717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873013" y="5844505"/>
            <a:ext cx="9248695" cy="845544"/>
          </a:xfrm>
          <a:prstGeom prst="rect">
            <a:avLst/>
          </a:prstGeom>
          <a:solidFill>
            <a:srgbClr val="C8B38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z="1600" baseline="30000" dirty="0">
                <a:solidFill>
                  <a:srgbClr val="000000"/>
                </a:solidFill>
                <a:latin typeface="Franklin Gothic Medium" panose="020B0603020102020204" pitchFamily="34" charset="0"/>
              </a:rPr>
              <a:t>Executive Reliability Control Board (E-RCB), Sustainment Program Baseline (SPB), Maintenance Operations Center (MOC)  Aircraft-on-Ground (AOG), NAVSUP WSS Logistics Cell Operations Model (WSS LOGCELL </a:t>
            </a:r>
            <a:r>
              <a:rPr lang="en-US" sz="1600" baseline="30000" dirty="0" err="1">
                <a:solidFill>
                  <a:srgbClr val="000000"/>
                </a:solidFill>
                <a:latin typeface="Franklin Gothic Medium" panose="020B0603020102020204" pitchFamily="34" charset="0"/>
              </a:rPr>
              <a:t>OpModel</a:t>
            </a:r>
            <a:r>
              <a:rPr lang="en-US" sz="1600" baseline="30000" dirty="0">
                <a:solidFill>
                  <a:srgbClr val="000000"/>
                </a:solidFill>
                <a:latin typeface="Franklin Gothic Medium" panose="020B0603020102020204" pitchFamily="34" charset="0"/>
              </a:rPr>
              <a:t>), NAVSUP BSC, NAVSUP FLCs, supply community, tools for E2E visibility such as: Integrated Supply Chain Management (ISCM), machine learning (ML), Enterprise Resource Planning (ERP), Naval Operational Business Logistics Enterprise (NOBLE).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AB33F839-B805-4ECA-866A-A3472ECF32B8}"/>
              </a:ext>
            </a:extLst>
          </p:cNvPr>
          <p:cNvSpPr/>
          <p:nvPr/>
        </p:nvSpPr>
        <p:spPr>
          <a:xfrm>
            <a:off x="9422580" y="3787341"/>
            <a:ext cx="1699128" cy="1932477"/>
          </a:xfrm>
          <a:prstGeom prst="rect">
            <a:avLst/>
          </a:prstGeom>
          <a:solidFill>
            <a:srgbClr val="009999"/>
          </a:solidFill>
          <a:ln w="25717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1859A2B5-9072-484F-8713-651C37D763DE}"/>
              </a:ext>
            </a:extLst>
          </p:cNvPr>
          <p:cNvSpPr/>
          <p:nvPr/>
        </p:nvSpPr>
        <p:spPr>
          <a:xfrm>
            <a:off x="3760405" y="3787341"/>
            <a:ext cx="1699128" cy="1932477"/>
          </a:xfrm>
          <a:prstGeom prst="rect">
            <a:avLst/>
          </a:prstGeom>
          <a:solidFill>
            <a:srgbClr val="0070C0"/>
          </a:solidFill>
          <a:ln w="25717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21B78FC-809D-4E96-B77C-B671109ECB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9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21B78FC-809D-4E96-B77C-B671109EC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185A3DA-077F-488F-9B45-3ADC0C10536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68A468A9-0492-48DA-B680-C91875D0FFD2}"/>
              </a:ext>
            </a:extLst>
          </p:cNvPr>
          <p:cNvSpPr/>
          <p:nvPr/>
        </p:nvSpPr>
        <p:spPr>
          <a:xfrm>
            <a:off x="5647797" y="3787341"/>
            <a:ext cx="1699128" cy="1932477"/>
          </a:xfrm>
          <a:prstGeom prst="rect">
            <a:avLst/>
          </a:prstGeom>
          <a:solidFill>
            <a:srgbClr val="002060"/>
          </a:solidFill>
          <a:ln w="25717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4" name="ee4pContent4">
            <a:extLst>
              <a:ext uri="{FF2B5EF4-FFF2-40B4-BE49-F238E27FC236}">
                <a16:creationId xmlns:a16="http://schemas.microsoft.com/office/drawing/2014/main" id="{92EBD6C6-D4D4-4512-9C4E-1D8DFACC4E96}"/>
              </a:ext>
            </a:extLst>
          </p:cNvPr>
          <p:cNvSpPr txBox="1"/>
          <p:nvPr/>
        </p:nvSpPr>
        <p:spPr>
          <a:xfrm>
            <a:off x="5725735" y="4535468"/>
            <a:ext cx="1619254" cy="92549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002060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2060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060"/>
                </a:solidFill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2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Expand competition with suppliers and deepen partnership with strategic </a:t>
            </a:r>
            <a:r>
              <a:rPr kumimoji="0" lang="en-US" sz="125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suppliers.</a:t>
            </a:r>
            <a:endParaRPr kumimoji="0" lang="en-US" sz="125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65" name="ee4pHeader4">
            <a:extLst>
              <a:ext uri="{FF2B5EF4-FFF2-40B4-BE49-F238E27FC236}">
                <a16:creationId xmlns:a16="http://schemas.microsoft.com/office/drawing/2014/main" id="{AC4D6DB3-459A-40B2-A53C-A93B7178B235}"/>
              </a:ext>
            </a:extLst>
          </p:cNvPr>
          <p:cNvSpPr txBox="1"/>
          <p:nvPr/>
        </p:nvSpPr>
        <p:spPr>
          <a:xfrm>
            <a:off x="5697742" y="4199896"/>
            <a:ext cx="1599241" cy="212673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3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</a:rPr>
              <a:t>Shape </a:t>
            </a: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</a:rPr>
              <a:t>Industrial Base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anklin Gothic Demi" panose="020B070302010202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C671897-3975-4B0D-A8C6-34CC91BB73C7}"/>
              </a:ext>
            </a:extLst>
          </p:cNvPr>
          <p:cNvSpPr/>
          <p:nvPr/>
        </p:nvSpPr>
        <p:spPr>
          <a:xfrm>
            <a:off x="1873013" y="3784533"/>
            <a:ext cx="1717528" cy="1935286"/>
          </a:xfrm>
          <a:prstGeom prst="rect">
            <a:avLst/>
          </a:prstGeom>
          <a:solidFill>
            <a:srgbClr val="727200"/>
          </a:solidFill>
          <a:ln w="25717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2" name="ee4pContent2">
            <a:extLst>
              <a:ext uri="{FF2B5EF4-FFF2-40B4-BE49-F238E27FC236}">
                <a16:creationId xmlns:a16="http://schemas.microsoft.com/office/drawing/2014/main" id="{2862EDA9-C9ED-4535-93BC-FE58FBB07AEA}"/>
              </a:ext>
            </a:extLst>
          </p:cNvPr>
          <p:cNvSpPr txBox="1"/>
          <p:nvPr/>
        </p:nvSpPr>
        <p:spPr>
          <a:xfrm>
            <a:off x="1987813" y="4535468"/>
            <a:ext cx="1526029" cy="92549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002060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2060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060"/>
                </a:solidFill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lang="en-US" sz="1250" kern="0" noProof="0" dirty="0">
                <a:solidFill>
                  <a:schemeClr val="bg1"/>
                </a:solidFill>
                <a:latin typeface="Franklin Gothic Book" panose="020B0503020102020204" pitchFamily="34" charset="0"/>
              </a:rPr>
              <a:t>Reduce demand and increase predictability through design, engineering, fleet behaviors, etc.</a:t>
            </a:r>
            <a:endParaRPr kumimoji="0" lang="en-US" sz="125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43" name="ee4pHeader2">
            <a:extLst>
              <a:ext uri="{FF2B5EF4-FFF2-40B4-BE49-F238E27FC236}">
                <a16:creationId xmlns:a16="http://schemas.microsoft.com/office/drawing/2014/main" id="{3A10FC59-2BD3-49BC-9999-EC853E9A2620}"/>
              </a:ext>
            </a:extLst>
          </p:cNvPr>
          <p:cNvSpPr txBox="1"/>
          <p:nvPr/>
        </p:nvSpPr>
        <p:spPr>
          <a:xfrm>
            <a:off x="1923496" y="4199896"/>
            <a:ext cx="1616559" cy="212673"/>
          </a:xfrm>
          <a:prstGeom prst="rect">
            <a:avLst/>
          </a:prstGeom>
          <a:noFill/>
          <a:ln cap="rnd">
            <a:noFill/>
          </a:ln>
          <a:extLst>
            <a:ext uri="{91240B29-F687-4F45-9708-019B960494DF}">
              <a14:hiddenLine xmlns:a14="http://schemas.microsoft.com/office/drawing/2010/main" cap="rnd">
                <a:solidFill>
                  <a:srgbClr val="727200"/>
                </a:solidFill>
              </a14:hiddenLine>
            </a:ext>
          </a:extLst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3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</a:rPr>
              <a:t>Demand Management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C671897-3975-4B0D-A8C6-34CC91BB73C7}"/>
              </a:ext>
            </a:extLst>
          </p:cNvPr>
          <p:cNvSpPr/>
          <p:nvPr/>
        </p:nvSpPr>
        <p:spPr>
          <a:xfrm>
            <a:off x="1873013" y="3014861"/>
            <a:ext cx="9248695" cy="644985"/>
          </a:xfrm>
          <a:prstGeom prst="rect">
            <a:avLst/>
          </a:prstGeom>
          <a:solidFill>
            <a:srgbClr val="00425B"/>
          </a:solidFill>
          <a:ln w="25717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ee4pContent2">
            <a:extLst>
              <a:ext uri="{FF2B5EF4-FFF2-40B4-BE49-F238E27FC236}">
                <a16:creationId xmlns:a16="http://schemas.microsoft.com/office/drawing/2014/main" id="{2862EDA9-C9ED-4535-93BC-FE58FBB07AEA}"/>
              </a:ext>
            </a:extLst>
          </p:cNvPr>
          <p:cNvSpPr txBox="1"/>
          <p:nvPr/>
        </p:nvSpPr>
        <p:spPr>
          <a:xfrm>
            <a:off x="2390147" y="3307115"/>
            <a:ext cx="5739798" cy="27194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txBody>
          <a:bodyPr lIns="0" tIns="0" rIns="0" bIns="0" rtlCol="0" anchor="ctr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002060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2060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060"/>
                </a:solidFill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Integrate existing Supply Chain resources (i.e., neural network) to </a:t>
            </a:r>
            <a:r>
              <a:rPr lang="en-US" kern="0" dirty="0">
                <a:solidFill>
                  <a:schemeClr val="bg1"/>
                </a:solidFill>
                <a:latin typeface="Franklin Gothic Book" panose="020B0503020102020204" pitchFamily="34" charset="0"/>
              </a:rPr>
              <a:t>sustain the </a:t>
            </a:r>
            <a:r>
              <a:rPr lang="en-US" kern="0" dirty="0" smtClean="0">
                <a:solidFill>
                  <a:schemeClr val="bg1"/>
                </a:solidFill>
                <a:latin typeface="Franklin Gothic Book" panose="020B0503020102020204" pitchFamily="34" charset="0"/>
              </a:rPr>
              <a:t>force.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62" name="ee4pHeader2">
            <a:extLst>
              <a:ext uri="{FF2B5EF4-FFF2-40B4-BE49-F238E27FC236}">
                <a16:creationId xmlns:a16="http://schemas.microsoft.com/office/drawing/2014/main" id="{3A10FC59-2BD3-49BC-9999-EC853E9A2620}"/>
              </a:ext>
            </a:extLst>
          </p:cNvPr>
          <p:cNvSpPr txBox="1"/>
          <p:nvPr/>
        </p:nvSpPr>
        <p:spPr>
          <a:xfrm>
            <a:off x="2390147" y="2995945"/>
            <a:ext cx="2235886" cy="462477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0" marR="0" lvl="3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</a:rPr>
              <a:t>Achieve E2E integration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023AEBD2-5C1A-46B4-8F0F-C01F36239313}"/>
              </a:ext>
            </a:extLst>
          </p:cNvPr>
          <p:cNvSpPr/>
          <p:nvPr/>
        </p:nvSpPr>
        <p:spPr>
          <a:xfrm>
            <a:off x="7535188" y="3787341"/>
            <a:ext cx="1699128" cy="1932477"/>
          </a:xfrm>
          <a:prstGeom prst="rect">
            <a:avLst/>
          </a:prstGeom>
          <a:solidFill>
            <a:srgbClr val="C99B1C"/>
          </a:solidFill>
          <a:ln w="25717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296" tIns="41148" rIns="82296" bIns="4114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73" name="ee4pContent4">
            <a:extLst>
              <a:ext uri="{FF2B5EF4-FFF2-40B4-BE49-F238E27FC236}">
                <a16:creationId xmlns:a16="http://schemas.microsoft.com/office/drawing/2014/main" id="{B7590E06-4F12-433D-8322-0089807ECE87}"/>
              </a:ext>
            </a:extLst>
          </p:cNvPr>
          <p:cNvSpPr txBox="1"/>
          <p:nvPr/>
        </p:nvSpPr>
        <p:spPr>
          <a:xfrm>
            <a:off x="7677150" y="4535468"/>
            <a:ext cx="1462442" cy="92549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002060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2060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060"/>
                </a:solidFill>
              </a:defRPr>
            </a:lvl9pPr>
          </a:lstStyle>
          <a:p>
            <a:pPr lvl="0">
              <a:defRPr/>
            </a:pPr>
            <a:r>
              <a:rPr lang="en-US" sz="1250" kern="0" dirty="0">
                <a:solidFill>
                  <a:schemeClr val="bg1"/>
                </a:solidFill>
                <a:latin typeface="Franklin Gothic Book" panose="020B0503020102020204" pitchFamily="34" charset="0"/>
              </a:rPr>
              <a:t>Increase organic depot repair volume to fully utilize capacity</a:t>
            </a:r>
          </a:p>
        </p:txBody>
      </p:sp>
      <p:sp>
        <p:nvSpPr>
          <p:cNvPr id="74" name="ee4pHeader4">
            <a:extLst>
              <a:ext uri="{FF2B5EF4-FFF2-40B4-BE49-F238E27FC236}">
                <a16:creationId xmlns:a16="http://schemas.microsoft.com/office/drawing/2014/main" id="{62C599D6-432A-40A1-8F85-EB170C0009AE}"/>
              </a:ext>
            </a:extLst>
          </p:cNvPr>
          <p:cNvSpPr txBox="1"/>
          <p:nvPr/>
        </p:nvSpPr>
        <p:spPr>
          <a:xfrm>
            <a:off x="7585133" y="4199896"/>
            <a:ext cx="1599241" cy="212673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3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</a:rPr>
              <a:t>Optimize </a:t>
            </a: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</a:rPr>
              <a:t>Organic</a:t>
            </a:r>
          </a:p>
          <a:p>
            <a:pPr marL="0" marR="0" lvl="3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kern="0" dirty="0" smtClean="0">
                <a:solidFill>
                  <a:schemeClr val="bg1"/>
                </a:solidFill>
                <a:latin typeface="Franklin Gothic Demi" panose="020B0703020102020204" pitchFamily="34" charset="0"/>
              </a:rPr>
              <a:t>R</a:t>
            </a:r>
            <a:r>
              <a:rPr kumimoji="0" lang="en-U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</a:rPr>
              <a:t>epair</a:t>
            </a: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</a:rPr>
              <a:t> 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anklin Gothic Demi" panose="020B0703020102020204" pitchFamily="34" charset="0"/>
            </a:endParaRPr>
          </a:p>
        </p:txBody>
      </p:sp>
      <p:sp>
        <p:nvSpPr>
          <p:cNvPr id="67" name="ee4pContent3">
            <a:extLst>
              <a:ext uri="{FF2B5EF4-FFF2-40B4-BE49-F238E27FC236}">
                <a16:creationId xmlns:a16="http://schemas.microsoft.com/office/drawing/2014/main" id="{D0C85740-1560-4AB4-9052-82F6B60A7687}"/>
              </a:ext>
            </a:extLst>
          </p:cNvPr>
          <p:cNvSpPr txBox="1"/>
          <p:nvPr/>
        </p:nvSpPr>
        <p:spPr>
          <a:xfrm>
            <a:off x="3895725" y="4535468"/>
            <a:ext cx="1469084" cy="92549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002060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2060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060"/>
                </a:solidFill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2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Take a portfolio approach to managing cash</a:t>
            </a:r>
            <a:r>
              <a:rPr kumimoji="0" lang="en-US" sz="1250" b="0" i="0" u="none" strike="noStrike" kern="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 </a:t>
            </a:r>
            <a:r>
              <a:rPr kumimoji="0" lang="en-US" sz="12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allocation to maximize </a:t>
            </a:r>
            <a:r>
              <a:rPr kumimoji="0" lang="en-US" sz="125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readiness.</a:t>
            </a:r>
            <a:endParaRPr kumimoji="0" lang="en-US" sz="125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68" name="ee4pHeader3">
            <a:extLst>
              <a:ext uri="{FF2B5EF4-FFF2-40B4-BE49-F238E27FC236}">
                <a16:creationId xmlns:a16="http://schemas.microsoft.com/office/drawing/2014/main" id="{6FF38118-C459-460C-A646-F0BD9F28F060}"/>
              </a:ext>
            </a:extLst>
          </p:cNvPr>
          <p:cNvSpPr txBox="1"/>
          <p:nvPr/>
        </p:nvSpPr>
        <p:spPr>
          <a:xfrm>
            <a:off x="3810347" y="4199896"/>
            <a:ext cx="1599241" cy="212673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3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</a:rPr>
              <a:t>Optimize WCF </a:t>
            </a:r>
            <a:r>
              <a:rPr lang="en-US" sz="1600" kern="0" noProof="0" dirty="0" smtClean="0">
                <a:solidFill>
                  <a:schemeClr val="bg1"/>
                </a:solidFill>
                <a:latin typeface="Franklin Gothic Demi" panose="020B0703020102020204" pitchFamily="34" charset="0"/>
              </a:rPr>
              <a:t>P</a:t>
            </a: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</a:rPr>
              <a:t>ortfolio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anklin Gothic Demi" panose="020B0703020102020204" pitchFamily="34" charset="0"/>
            </a:endParaRPr>
          </a:p>
        </p:txBody>
      </p:sp>
      <p:sp>
        <p:nvSpPr>
          <p:cNvPr id="70" name="ee4pContent4">
            <a:extLst>
              <a:ext uri="{FF2B5EF4-FFF2-40B4-BE49-F238E27FC236}">
                <a16:creationId xmlns:a16="http://schemas.microsoft.com/office/drawing/2014/main" id="{C3024ECA-9CCE-4C1A-9074-30F3A994B496}"/>
              </a:ext>
            </a:extLst>
          </p:cNvPr>
          <p:cNvSpPr txBox="1"/>
          <p:nvPr/>
        </p:nvSpPr>
        <p:spPr>
          <a:xfrm>
            <a:off x="9517304" y="4535468"/>
            <a:ext cx="1509680" cy="92549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txBody>
          <a:bodyPr lIns="0" tIns="0" rIns="0" bIns="0" rtlCol="0" anchor="t" anchorCtr="0"/>
          <a:lstStyle>
            <a:defPPr>
              <a:defRPr lang="en-US"/>
            </a:defPPr>
            <a:lvl1pPr>
              <a:buSzPct val="100000"/>
              <a:buFont typeface="Trebuchet MS" panose="020B0603020202020204" pitchFamily="34" charset="0"/>
              <a:buChar char="​"/>
              <a:defRPr sz="12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2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–"/>
              <a:defRPr sz="1200">
                <a:solidFill>
                  <a:srgbClr val="000000"/>
                </a:solidFill>
              </a:defRPr>
            </a:lvl3pPr>
            <a:lvl4pPr marL="0" lvl="3">
              <a:buSzPct val="100000"/>
              <a:buFont typeface="Trebuchet MS" panose="020B0603020202020204" pitchFamily="34" charset="0"/>
              <a:buChar char="​"/>
              <a:defRPr sz="1600">
                <a:solidFill>
                  <a:srgbClr val="002060"/>
                </a:solidFill>
              </a:defRPr>
            </a:lvl4pPr>
            <a:lvl5pPr marL="0" lvl="4">
              <a:buSzPct val="100000"/>
              <a:buFont typeface="Trebuchet MS" panose="020B0603020202020204" pitchFamily="34" charset="0"/>
              <a:buChar char="​"/>
              <a:defRPr sz="16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2060"/>
              </a:buClr>
              <a:buSzPct val="100000"/>
              <a:buFont typeface="Trebuchet MS" panose="020B0603020202020204" pitchFamily="34" charset="0"/>
              <a:buChar char="•"/>
              <a:defRPr sz="1600">
                <a:solidFill>
                  <a:srgbClr val="000000"/>
                </a:solidFill>
              </a:defRPr>
            </a:lvl6pPr>
            <a:lvl7pPr marL="0" lvl="6">
              <a:buSzPct val="100000"/>
              <a:buFont typeface="Trebuchet MS" panose="020B0603020202020204" pitchFamily="34" charset="0"/>
              <a:buChar char="​"/>
              <a:defRPr sz="4400">
                <a:solidFill>
                  <a:srgbClr val="000000"/>
                </a:solidFill>
              </a:defRPr>
            </a:lvl7pPr>
            <a:lvl8pPr marL="0" lvl="7">
              <a:buSzPct val="100000"/>
              <a:buFont typeface="Trebuchet MS" panose="020B0603020202020204" pitchFamily="34" charset="0"/>
              <a:buChar char="​"/>
              <a:defRPr sz="5400">
                <a:solidFill>
                  <a:srgbClr val="002060"/>
                </a:solidFill>
              </a:defRPr>
            </a:lvl8pPr>
            <a:lvl9pPr marL="0" lvl="8">
              <a:buSzPct val="100000"/>
              <a:buFont typeface="Trebuchet MS" panose="020B0603020202020204" pitchFamily="34" charset="0"/>
              <a:buChar char="​"/>
              <a:defRPr sz="2400">
                <a:solidFill>
                  <a:srgbClr val="002060"/>
                </a:solidFill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​"/>
              <a:tabLst/>
              <a:defRPr/>
            </a:pPr>
            <a:r>
              <a:rPr kumimoji="0" lang="en-US" sz="12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Shorten E2E repair TATs in line with commercial, and </a:t>
            </a:r>
            <a:r>
              <a:rPr kumimoji="0" lang="en-US" sz="125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/>
            </a:r>
            <a:br>
              <a:rPr kumimoji="0" lang="en-US" sz="125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Book" panose="020B0503020102020204" pitchFamily="34" charset="0"/>
              </a:rPr>
            </a:br>
            <a:r>
              <a:rPr kumimoji="0" lang="en-US" sz="125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move </a:t>
            </a:r>
            <a:r>
              <a:rPr kumimoji="0" lang="en-US" sz="125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Book" panose="020B0503020102020204" pitchFamily="34" charset="0"/>
              </a:rPr>
              <a:t>parts in the </a:t>
            </a:r>
            <a:r>
              <a:rPr lang="en-US" sz="1250" kern="0" dirty="0">
                <a:solidFill>
                  <a:schemeClr val="bg1"/>
                </a:solidFill>
                <a:latin typeface="Franklin Gothic Book" panose="020B0503020102020204" pitchFamily="34" charset="0"/>
              </a:rPr>
              <a:t>system </a:t>
            </a:r>
            <a:r>
              <a:rPr lang="en-US" sz="1250" kern="0" dirty="0" smtClean="0">
                <a:solidFill>
                  <a:schemeClr val="bg1"/>
                </a:solidFill>
                <a:latin typeface="Franklin Gothic Book" panose="020B0503020102020204" pitchFamily="34" charset="0"/>
              </a:rPr>
              <a:t>faster.</a:t>
            </a:r>
            <a:endParaRPr kumimoji="0" lang="en-US" sz="125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ranklin Gothic Book" panose="020B0503020102020204" pitchFamily="34" charset="0"/>
            </a:endParaRPr>
          </a:p>
        </p:txBody>
      </p:sp>
      <p:sp>
        <p:nvSpPr>
          <p:cNvPr id="71" name="ee4pHeader4">
            <a:extLst>
              <a:ext uri="{FF2B5EF4-FFF2-40B4-BE49-F238E27FC236}">
                <a16:creationId xmlns:a16="http://schemas.microsoft.com/office/drawing/2014/main" id="{652CCBAA-5163-47EB-9720-95A66481F09D}"/>
              </a:ext>
            </a:extLst>
          </p:cNvPr>
          <p:cNvSpPr txBox="1"/>
          <p:nvPr/>
        </p:nvSpPr>
        <p:spPr>
          <a:xfrm>
            <a:off x="9472525" y="4199896"/>
            <a:ext cx="1599241" cy="212673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3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</a:rPr>
              <a:t>Increase </a:t>
            </a:r>
          </a:p>
          <a:p>
            <a:pPr marL="0" marR="0" lvl="3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</a:rPr>
              <a:t>E2E velocit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1C22EB-A4D3-4B0F-9A89-EB224AEA45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8065" y="86905"/>
            <a:ext cx="8405285" cy="941796"/>
          </a:xfrm>
        </p:spPr>
        <p:txBody>
          <a:bodyPr/>
          <a:lstStyle/>
          <a:p>
            <a:r>
              <a:rPr lang="en-US" dirty="0"/>
              <a:t>NSS-SUPPLY will focus on 6 key </a:t>
            </a:r>
            <a:r>
              <a:rPr lang="en-US" dirty="0" smtClean="0"/>
              <a:t>pillars</a:t>
            </a:r>
            <a:br>
              <a:rPr lang="en-US" dirty="0" smtClean="0"/>
            </a:br>
            <a:r>
              <a:rPr lang="en-US" dirty="0" smtClean="0"/>
              <a:t>to </a:t>
            </a:r>
            <a:r>
              <a:rPr lang="en-US" dirty="0"/>
              <a:t>drive higher performanc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204AA12-3AD6-43FD-BF36-2D48BCFF9A84}"/>
              </a:ext>
            </a:extLst>
          </p:cNvPr>
          <p:cNvGrpSpPr/>
          <p:nvPr/>
        </p:nvGrpSpPr>
        <p:grpSpPr>
          <a:xfrm>
            <a:off x="2390147" y="2202043"/>
            <a:ext cx="8214428" cy="576423"/>
            <a:chOff x="2717801" y="2202085"/>
            <a:chExt cx="8214428" cy="576423"/>
          </a:xfrm>
        </p:grpSpPr>
        <p:sp>
          <p:nvSpPr>
            <p:cNvPr id="76" name="ee4pContent1">
              <a:extLst>
                <a:ext uri="{FF2B5EF4-FFF2-40B4-BE49-F238E27FC236}">
                  <a16:creationId xmlns:a16="http://schemas.microsoft.com/office/drawing/2014/main" id="{36A8D5B6-5E90-4067-B8F1-61F553762325}"/>
                </a:ext>
              </a:extLst>
            </p:cNvPr>
            <p:cNvSpPr txBox="1"/>
            <p:nvPr/>
          </p:nvSpPr>
          <p:spPr>
            <a:xfrm>
              <a:off x="2717801" y="2562492"/>
              <a:ext cx="8214428" cy="21601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txBody>
            <a:bodyPr lIns="0" tIns="0" rIns="0" bIns="0" rtlCol="0" anchor="t" anchorCtr="0"/>
            <a:lstStyle>
              <a:defPPr>
                <a:defRPr lang="en-US"/>
              </a:defPPr>
              <a:lvl1pPr>
                <a:buSzPct val="100000"/>
                <a:buFont typeface="Trebuchet MS" panose="020B0603020202020204" pitchFamily="34" charset="0"/>
                <a:buChar char="​"/>
                <a:defRPr sz="1200">
                  <a:solidFill>
                    <a:srgbClr val="000000"/>
                  </a:solidFill>
                </a:defRPr>
              </a:lvl1pPr>
              <a:lvl2pPr marL="324000" lvl="1" indent="-216000">
                <a:buClr>
                  <a:srgbClr val="002060"/>
                </a:buClr>
                <a:buSzPct val="100000"/>
                <a:buFont typeface="Trebuchet MS" panose="020B0603020202020204" pitchFamily="34" charset="0"/>
                <a:buChar char="•"/>
                <a:defRPr sz="1200">
                  <a:solidFill>
                    <a:srgbClr val="000000"/>
                  </a:solidFill>
                </a:defRPr>
              </a:lvl2pPr>
              <a:lvl3pPr marL="648000" lvl="2" indent="-216000">
                <a:buClr>
                  <a:srgbClr val="002060"/>
                </a:buClr>
                <a:buSzPct val="100000"/>
                <a:buFont typeface="Trebuchet MS" panose="020B0603020202020204" pitchFamily="34" charset="0"/>
                <a:buChar char="–"/>
                <a:defRPr sz="1200">
                  <a:solidFill>
                    <a:srgbClr val="000000"/>
                  </a:solidFill>
                </a:defRPr>
              </a:lvl3pPr>
              <a:lvl4pPr marL="0" lvl="3">
                <a:buSzPct val="100000"/>
                <a:buFont typeface="Trebuchet MS" panose="020B0603020202020204" pitchFamily="34" charset="0"/>
                <a:buChar char="​"/>
                <a:defRPr sz="1600">
                  <a:solidFill>
                    <a:srgbClr val="002060"/>
                  </a:solidFill>
                </a:defRPr>
              </a:lvl4pPr>
              <a:lvl5pPr marL="0" lvl="4">
                <a:buSzPct val="100000"/>
                <a:buFont typeface="Trebuchet MS" panose="020B0603020202020204" pitchFamily="34" charset="0"/>
                <a:buChar char="​"/>
                <a:defRPr sz="1600" b="1">
                  <a:solidFill>
                    <a:srgbClr val="000000"/>
                  </a:solidFill>
                </a:defRPr>
              </a:lvl5pPr>
              <a:lvl6pPr marL="324000" lvl="5" indent="-216000">
                <a:buClr>
                  <a:srgbClr val="002060"/>
                </a:buClr>
                <a:buSzPct val="100000"/>
                <a:buFont typeface="Trebuchet MS" panose="020B0603020202020204" pitchFamily="34" charset="0"/>
                <a:buChar char="•"/>
                <a:defRPr sz="1600">
                  <a:solidFill>
                    <a:srgbClr val="000000"/>
                  </a:solidFill>
                </a:defRPr>
              </a:lvl6pPr>
              <a:lvl7pPr marL="0" lvl="6">
                <a:buSzPct val="100000"/>
                <a:buFont typeface="Trebuchet MS" panose="020B0603020202020204" pitchFamily="34" charset="0"/>
                <a:buChar char="​"/>
                <a:defRPr sz="4400">
                  <a:solidFill>
                    <a:srgbClr val="000000"/>
                  </a:solidFill>
                </a:defRPr>
              </a:lvl7pPr>
              <a:lvl8pPr marL="0" lvl="7">
                <a:buSzPct val="100000"/>
                <a:buFont typeface="Trebuchet MS" panose="020B0603020202020204" pitchFamily="34" charset="0"/>
                <a:buChar char="​"/>
                <a:defRPr sz="5400">
                  <a:solidFill>
                    <a:srgbClr val="002060"/>
                  </a:solidFill>
                </a:defRPr>
              </a:lvl8pPr>
              <a:lvl9pPr marL="0" lvl="8">
                <a:buSzPct val="100000"/>
                <a:buFont typeface="Trebuchet MS" panose="020B0603020202020204" pitchFamily="34" charset="0"/>
                <a:buChar char="​"/>
                <a:defRPr sz="2400">
                  <a:solidFill>
                    <a:srgbClr val="002060"/>
                  </a:solidFill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kumimoji="0" lang="en-US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Govern, coordinate, and synchronize strategic supply chain decisions by leadership across </a:t>
              </a:r>
              <a:r>
                <a:rPr kumimoji="0" lang="en-US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Franklin Gothic Book" panose="020B0503020102020204" pitchFamily="34" charset="0"/>
                </a:rPr>
                <a:t>Navy.</a:t>
              </a:r>
              <a:endParaRPr kumimoji="0" lang="en-US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Book" panose="020B0503020102020204" pitchFamily="34" charset="0"/>
              </a:endParaRPr>
            </a:p>
          </p:txBody>
        </p:sp>
        <p:sp>
          <p:nvSpPr>
            <p:cNvPr id="77" name="ee4pHeader1">
              <a:extLst>
                <a:ext uri="{FF2B5EF4-FFF2-40B4-BE49-F238E27FC236}">
                  <a16:creationId xmlns:a16="http://schemas.microsoft.com/office/drawing/2014/main" id="{CD14118D-6997-4FDA-9E0A-5F783926318B}"/>
                </a:ext>
              </a:extLst>
            </p:cNvPr>
            <p:cNvSpPr txBox="1"/>
            <p:nvPr/>
          </p:nvSpPr>
          <p:spPr>
            <a:xfrm>
              <a:off x="2717801" y="2202085"/>
              <a:ext cx="4517840" cy="314419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/>
            <a:p>
              <a:pPr marL="0" lvl="3"/>
              <a:r>
                <a:rPr lang="en-US" sz="1600" dirty="0">
                  <a:solidFill>
                    <a:schemeClr val="bg1"/>
                  </a:solidFill>
                  <a:latin typeface="Franklin Gothic Demi" panose="020B0703020102020204" pitchFamily="34" charset="0"/>
                </a:rPr>
                <a:t>NSS-SUPPLY and E2E integration</a:t>
              </a:r>
            </a:p>
          </p:txBody>
        </p:sp>
      </p:grpSp>
      <p:sp>
        <p:nvSpPr>
          <p:cNvPr id="86" name="Isosceles Triangle 85">
            <a:extLst>
              <a:ext uri="{FF2B5EF4-FFF2-40B4-BE49-F238E27FC236}">
                <a16:creationId xmlns:a16="http://schemas.microsoft.com/office/drawing/2014/main" id="{192B6D7C-03D7-4446-8A2D-86770EC4FD87}"/>
              </a:ext>
            </a:extLst>
          </p:cNvPr>
          <p:cNvSpPr/>
          <p:nvPr/>
        </p:nvSpPr>
        <p:spPr>
          <a:xfrm>
            <a:off x="1873013" y="1409936"/>
            <a:ext cx="9248695" cy="598653"/>
          </a:xfrm>
          <a:prstGeom prst="triangle">
            <a:avLst/>
          </a:prstGeom>
          <a:solidFill>
            <a:srgbClr val="C8B384"/>
          </a:solidFill>
          <a:ln w="2540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2743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361957" y="1983061"/>
            <a:ext cx="284320" cy="909245"/>
          </a:xfrm>
          <a:prstGeom prst="rect">
            <a:avLst/>
          </a:prstGeom>
          <a:solidFill>
            <a:srgbClr val="DAA9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1361957" y="2986868"/>
            <a:ext cx="309539" cy="2732950"/>
          </a:xfrm>
          <a:prstGeom prst="rect">
            <a:avLst/>
          </a:prstGeom>
          <a:solidFill>
            <a:srgbClr val="DAA9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361957" y="5844505"/>
            <a:ext cx="308250" cy="845544"/>
          </a:xfrm>
          <a:prstGeom prst="rect">
            <a:avLst/>
          </a:prstGeom>
          <a:solidFill>
            <a:srgbClr val="DAA9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DDD45FB4-98CB-4C47-8787-15BC9B9EAFB0}"/>
              </a:ext>
            </a:extLst>
          </p:cNvPr>
          <p:cNvSpPr/>
          <p:nvPr/>
        </p:nvSpPr>
        <p:spPr>
          <a:xfrm rot="16200000">
            <a:off x="1008336" y="2278087"/>
            <a:ext cx="980714" cy="3430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060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</a:rPr>
              <a:t>Governance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6F1A036D-C6EA-4C15-BCB5-FD1FD5B02C22}"/>
              </a:ext>
            </a:extLst>
          </p:cNvPr>
          <p:cNvSpPr/>
          <p:nvPr/>
        </p:nvSpPr>
        <p:spPr>
          <a:xfrm rot="16200000">
            <a:off x="139978" y="4121484"/>
            <a:ext cx="2732950" cy="46371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060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</a:rPr>
              <a:t>Pillars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F8FA3DF0-EAB1-42F8-A71C-1A50D6BF1130}"/>
              </a:ext>
            </a:extLst>
          </p:cNvPr>
          <p:cNvSpPr/>
          <p:nvPr/>
        </p:nvSpPr>
        <p:spPr>
          <a:xfrm rot="16200000">
            <a:off x="1097489" y="5987602"/>
            <a:ext cx="809625" cy="55775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060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ranklin Gothic Demi" panose="020B0703020102020204" pitchFamily="34" charset="0"/>
              </a:rPr>
              <a:t>Enablers</a:t>
            </a:r>
          </a:p>
        </p:txBody>
      </p:sp>
    </p:spTree>
    <p:extLst>
      <p:ext uri="{BB962C8B-B14F-4D97-AF65-F5344CB8AC3E}">
        <p14:creationId xmlns:p14="http://schemas.microsoft.com/office/powerpoint/2010/main" val="1056715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21B78FC-809D-4E96-B77C-B671109ECB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55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21B78FC-809D-4E96-B77C-B671109EC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185A3DA-077F-488F-9B45-3ADC0C10536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1C22EB-A4D3-4B0F-9A89-EB224AEA45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4200" y="586450"/>
            <a:ext cx="8543703" cy="443198"/>
          </a:xfrm>
        </p:spPr>
        <p:txBody>
          <a:bodyPr/>
          <a:lstStyle/>
          <a:p>
            <a:r>
              <a:rPr lang="en-US" sz="3200" dirty="0"/>
              <a:t>Anatomy of the Figure of </a:t>
            </a:r>
            <a:r>
              <a:rPr lang="en-US" sz="3200" dirty="0" smtClean="0"/>
              <a:t>Merit (</a:t>
            </a:r>
            <a:r>
              <a:rPr lang="en-US" sz="3200" dirty="0" err="1" smtClean="0"/>
              <a:t>FOM</a:t>
            </a:r>
            <a:r>
              <a:rPr lang="en-US" sz="3200" dirty="0" smtClean="0"/>
              <a:t>)</a:t>
            </a:r>
            <a:endParaRPr lang="en-US" sz="3200" dirty="0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94123740-D0CE-4252-9288-F2746FD19EAC}"/>
              </a:ext>
            </a:extLst>
          </p:cNvPr>
          <p:cNvSpPr/>
          <p:nvPr/>
        </p:nvSpPr>
        <p:spPr>
          <a:xfrm>
            <a:off x="4670787" y="4518632"/>
            <a:ext cx="2201582" cy="155538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060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0584" tIns="50292" rIns="100584" bIns="50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  <a:buSzPct val="100000"/>
              <a:buFont typeface="Trebuchet MS" panose="020B0603020202020204" pitchFamily="34" charset="0"/>
              <a:buChar char="​"/>
            </a:pPr>
            <a:endParaRPr lang="en-US" sz="1400" dirty="0">
              <a:solidFill>
                <a:srgbClr val="000000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1626429" y="1599177"/>
            <a:ext cx="8578510" cy="1680355"/>
            <a:chOff x="1503336" y="2452030"/>
            <a:chExt cx="8578510" cy="1680355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91ECB5D-D01F-4BE9-BC32-7CDCD8C2F6D2}"/>
                </a:ext>
              </a:extLst>
            </p:cNvPr>
            <p:cNvSpPr/>
            <p:nvPr/>
          </p:nvSpPr>
          <p:spPr>
            <a:xfrm>
              <a:off x="1664678" y="2664878"/>
              <a:ext cx="2192336" cy="64419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2060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06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0584" tIns="50292" rIns="100584" bIns="5029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200" b="1" dirty="0">
                  <a:solidFill>
                    <a:srgbClr val="2C813E"/>
                  </a:solidFill>
                </a:rPr>
                <a:t>Supply Chain Effectiveness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7CE0C87-7C01-4652-A5E8-F378A6B5F18A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5679" y="2452030"/>
              <a:ext cx="638402" cy="994334"/>
            </a:xfrm>
            <a:prstGeom prst="rect">
              <a:avLst/>
            </a:prstGeom>
          </p:spPr>
          <p:txBody>
            <a:bodyPr wrap="none" lIns="90526" tIns="45263" rIns="90526" bIns="45263">
              <a:spAutoFit/>
            </a:bodyPr>
            <a:lstStyle/>
            <a:p>
              <a:r>
                <a:rPr lang="en-US" sz="5280" b="1" dirty="0">
                  <a:latin typeface="Trebuchet MS" panose="020B0603020202020204" pitchFamily="34" charset="0"/>
                </a:rPr>
                <a:t>=</a:t>
              </a:r>
              <a:endParaRPr lang="en-US" sz="5280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9A09A4C-04EC-4F6F-AD02-34C61B756CFB}"/>
                </a:ext>
              </a:extLst>
            </p:cNvPr>
            <p:cNvSpPr/>
            <p:nvPr/>
          </p:nvSpPr>
          <p:spPr>
            <a:xfrm>
              <a:off x="4835040" y="2664878"/>
              <a:ext cx="2084452" cy="64419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2060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06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0584" tIns="50292" rIns="100584" bIns="5029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200" b="1" dirty="0">
                  <a:solidFill>
                    <a:srgbClr val="2C813E"/>
                  </a:solidFill>
                </a:rPr>
                <a:t>Value of readiness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0760D840-5005-4784-9257-6AFE347E9D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4833" y="2484219"/>
              <a:ext cx="527314" cy="1106056"/>
            </a:xfrm>
            <a:prstGeom prst="rect">
              <a:avLst/>
            </a:prstGeom>
          </p:spPr>
          <p:txBody>
            <a:bodyPr wrap="none" lIns="90526" tIns="45263" rIns="90526" bIns="45263">
              <a:spAutoFit/>
            </a:bodyPr>
            <a:lstStyle/>
            <a:p>
              <a:r>
                <a:rPr lang="en-US" sz="5940" b="1" dirty="0">
                  <a:latin typeface="Trebuchet MS" panose="020B0603020202020204" pitchFamily="34" charset="0"/>
                </a:rPr>
                <a:t>/</a:t>
              </a:r>
              <a:endParaRPr lang="en-US" sz="5940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2B8988A-A6F7-4827-BE0A-4D50F16B6678}"/>
                </a:ext>
              </a:extLst>
            </p:cNvPr>
            <p:cNvSpPr/>
            <p:nvPr/>
          </p:nvSpPr>
          <p:spPr>
            <a:xfrm>
              <a:off x="7245359" y="2664878"/>
              <a:ext cx="2634646" cy="64419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2060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06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0584" tIns="50292" rIns="100584" bIns="5029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200" b="1" dirty="0" smtClean="0">
                  <a:solidFill>
                    <a:srgbClr val="980C13"/>
                  </a:solidFill>
                </a:rPr>
                <a:t>Cost to generate readiness</a:t>
              </a:r>
              <a:endParaRPr lang="en-US" sz="2200" b="1" dirty="0">
                <a:solidFill>
                  <a:srgbClr val="980C13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938E106-8505-4E5F-BC86-CDF51BABBB94}"/>
                </a:ext>
              </a:extLst>
            </p:cNvPr>
            <p:cNvSpPr/>
            <p:nvPr/>
          </p:nvSpPr>
          <p:spPr>
            <a:xfrm>
              <a:off x="1503336" y="3324022"/>
              <a:ext cx="2720748" cy="808363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2060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06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0584" tIns="50292" rIns="100584" bIns="5029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 i="1" dirty="0">
                  <a:solidFill>
                    <a:srgbClr val="7F7F7F"/>
                  </a:solidFill>
                </a:rPr>
                <a:t>For every dollar put into a weapon system, what is the value of readiness delivered</a:t>
              </a:r>
            </a:p>
            <a:p>
              <a:endParaRPr lang="en-US" sz="1400" i="1" dirty="0">
                <a:solidFill>
                  <a:srgbClr val="7F7F7F"/>
                </a:solidFill>
              </a:endParaRPr>
            </a:p>
            <a:p>
              <a:endParaRPr lang="en-US" sz="1200" i="1" dirty="0">
                <a:solidFill>
                  <a:srgbClr val="7F7F7F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47DD33C5-1914-411C-BE9B-6269532DBD83}"/>
                </a:ext>
              </a:extLst>
            </p:cNvPr>
            <p:cNvSpPr/>
            <p:nvPr/>
          </p:nvSpPr>
          <p:spPr>
            <a:xfrm>
              <a:off x="7540720" y="3324022"/>
              <a:ext cx="2541126" cy="808363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2060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06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0584" tIns="50292" rIns="100584" bIns="5029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 i="1" dirty="0">
                  <a:solidFill>
                    <a:srgbClr val="7F7F7F"/>
                  </a:solidFill>
                </a:rPr>
                <a:t>Total cash put into the weapon system(s</a:t>
              </a:r>
              <a:r>
                <a:rPr lang="en-US" sz="1400" i="1" dirty="0" smtClean="0">
                  <a:solidFill>
                    <a:srgbClr val="7F7F7F"/>
                  </a:solidFill>
                </a:rPr>
                <a:t>)</a:t>
              </a:r>
              <a:endParaRPr lang="en-US" sz="1400" i="1" dirty="0">
                <a:solidFill>
                  <a:srgbClr val="7F7F7F"/>
                </a:solidFill>
              </a:endParaRPr>
            </a:p>
            <a:p>
              <a:endParaRPr lang="en-US" sz="1400" i="1" dirty="0">
                <a:solidFill>
                  <a:srgbClr val="7F7F7F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5786FFC-7C25-48BF-89B7-95A7233CFE7D}"/>
                </a:ext>
              </a:extLst>
            </p:cNvPr>
            <p:cNvSpPr/>
            <p:nvPr/>
          </p:nvSpPr>
          <p:spPr>
            <a:xfrm>
              <a:off x="4519446" y="3324022"/>
              <a:ext cx="2715643" cy="808363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2060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00206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0584" tIns="50292" rIns="100584" bIns="5029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 i="1" dirty="0">
                  <a:solidFill>
                    <a:srgbClr val="7F7F7F"/>
                  </a:solidFill>
                </a:rPr>
                <a:t>Value of weapon system(s) that are available:</a:t>
              </a:r>
            </a:p>
            <a:p>
              <a:endParaRPr lang="en-US" sz="1400" i="1" dirty="0">
                <a:solidFill>
                  <a:srgbClr val="7F7F7F"/>
                </a:solidFill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1019907" y="3465503"/>
            <a:ext cx="4881073" cy="2888705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00206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195315" y="3294486"/>
            <a:ext cx="2152064" cy="369332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/>
            <a:r>
              <a:rPr lang="en-US" b="1" dirty="0">
                <a:solidFill>
                  <a:srgbClr val="2C813E"/>
                </a:solidFill>
              </a:rPr>
              <a:t>Value of readiness</a:t>
            </a:r>
          </a:p>
        </p:txBody>
      </p:sp>
      <p:sp>
        <p:nvSpPr>
          <p:cNvPr id="10" name="Rectangle 9"/>
          <p:cNvSpPr/>
          <p:nvPr/>
        </p:nvSpPr>
        <p:spPr>
          <a:xfrm>
            <a:off x="1195314" y="3883137"/>
            <a:ext cx="4405385" cy="239150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060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Annualized cost to acquire weapon systems </a:t>
            </a:r>
          </a:p>
          <a:p>
            <a:pPr lvl="1"/>
            <a:r>
              <a:rPr lang="en-US" sz="1200" dirty="0" smtClean="0">
                <a:solidFill>
                  <a:schemeClr val="tx1"/>
                </a:solidFill>
              </a:rPr>
              <a:t>i.e.,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en-US" sz="1200" dirty="0" smtClean="0">
                <a:solidFill>
                  <a:schemeClr val="tx1"/>
                </a:solidFill>
              </a:rPr>
              <a:t>the replacement price of an aircraft divided by its service life</a:t>
            </a:r>
          </a:p>
          <a:p>
            <a:endParaRPr lang="en-US" sz="1600" dirty="0">
              <a:solidFill>
                <a:schemeClr val="tx1"/>
              </a:solidFill>
            </a:endParaRPr>
          </a:p>
          <a:p>
            <a:r>
              <a:rPr lang="en-US" sz="1600" dirty="0" smtClean="0">
                <a:solidFill>
                  <a:schemeClr val="tx1"/>
                </a:solidFill>
              </a:rPr>
              <a:t>X</a:t>
            </a:r>
          </a:p>
          <a:p>
            <a:endParaRPr lang="en-US" sz="1600" dirty="0">
              <a:solidFill>
                <a:schemeClr val="tx1"/>
              </a:solidFill>
            </a:endParaRPr>
          </a:p>
          <a:p>
            <a:r>
              <a:rPr lang="en-US" sz="1600" b="1" dirty="0" smtClean="0">
                <a:solidFill>
                  <a:schemeClr val="tx1"/>
                </a:solidFill>
              </a:rPr>
              <a:t>% of time the aircraft or weapon system is ready 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138373" y="3450549"/>
            <a:ext cx="5309211" cy="2888705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00206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6361167" y="3279532"/>
            <a:ext cx="3059619" cy="369332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/>
            <a:r>
              <a:rPr lang="en-US" b="1" dirty="0">
                <a:solidFill>
                  <a:srgbClr val="980C13"/>
                </a:solidFill>
              </a:rPr>
              <a:t>Cost to generate readiness</a:t>
            </a:r>
          </a:p>
        </p:txBody>
      </p:sp>
      <p:sp>
        <p:nvSpPr>
          <p:cNvPr id="31" name="Rectangle 30"/>
          <p:cNvSpPr/>
          <p:nvPr/>
        </p:nvSpPr>
        <p:spPr>
          <a:xfrm>
            <a:off x="6340232" y="3883137"/>
            <a:ext cx="4869960" cy="239150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2060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00206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All Costs of Goods Sold (COGS) including: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</a:p>
          <a:p>
            <a:pPr lvl="1"/>
            <a:r>
              <a:rPr lang="en-US" sz="1200" dirty="0" smtClean="0">
                <a:solidFill>
                  <a:schemeClr val="tx1"/>
                </a:solidFill>
              </a:rPr>
              <a:t>Commercial repairs &amp; spares, </a:t>
            </a:r>
            <a:r>
              <a:rPr lang="en-US" sz="1200" dirty="0" err="1" smtClean="0">
                <a:solidFill>
                  <a:schemeClr val="tx1"/>
                </a:solidFill>
              </a:rPr>
              <a:t>PBLs</a:t>
            </a:r>
            <a:r>
              <a:rPr lang="en-US" sz="1200" dirty="0" smtClean="0">
                <a:solidFill>
                  <a:schemeClr val="tx1"/>
                </a:solidFill>
              </a:rPr>
              <a:t>, spares procured with APN6, </a:t>
            </a:r>
            <a:r>
              <a:rPr lang="en-US" sz="1200" dirty="0" err="1" smtClean="0">
                <a:solidFill>
                  <a:schemeClr val="tx1"/>
                </a:solidFill>
              </a:rPr>
              <a:t>TYCOM</a:t>
            </a:r>
            <a:r>
              <a:rPr lang="en-US" sz="1200" dirty="0" smtClean="0">
                <a:solidFill>
                  <a:schemeClr val="tx1"/>
                </a:solidFill>
              </a:rPr>
              <a:t> procurement, I-/D- level labor, DLA warehousing and distribution costs, </a:t>
            </a:r>
            <a:r>
              <a:rPr lang="en-US" sz="1200" dirty="0" err="1" smtClean="0">
                <a:solidFill>
                  <a:schemeClr val="tx1"/>
                </a:solidFill>
              </a:rPr>
              <a:t>NAVAIR</a:t>
            </a:r>
            <a:r>
              <a:rPr lang="en-US" sz="1200" dirty="0" smtClean="0">
                <a:solidFill>
                  <a:schemeClr val="tx1"/>
                </a:solidFill>
              </a:rPr>
              <a:t> &amp; NAVSUP overhead, etc.</a:t>
            </a:r>
          </a:p>
          <a:p>
            <a:endParaRPr lang="en-US" sz="1600" dirty="0" smtClean="0">
              <a:solidFill>
                <a:schemeClr val="tx1"/>
              </a:solidFill>
            </a:endParaRPr>
          </a:p>
          <a:p>
            <a:r>
              <a:rPr lang="en-US" sz="1600" b="1" dirty="0">
                <a:solidFill>
                  <a:schemeClr val="tx1"/>
                </a:solidFill>
              </a:rPr>
              <a:t>All </a:t>
            </a:r>
            <a:r>
              <a:rPr lang="en-US" sz="1600" b="1" dirty="0" smtClean="0">
                <a:solidFill>
                  <a:schemeClr val="tx1"/>
                </a:solidFill>
              </a:rPr>
              <a:t>inventory costs including</a:t>
            </a:r>
            <a:r>
              <a:rPr lang="en-US" sz="1600" b="1" dirty="0">
                <a:solidFill>
                  <a:schemeClr val="tx1"/>
                </a:solidFill>
              </a:rPr>
              <a:t>: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</a:p>
          <a:p>
            <a:pPr lvl="1"/>
            <a:r>
              <a:rPr lang="en-US" sz="1200" dirty="0" smtClean="0">
                <a:solidFill>
                  <a:schemeClr val="tx1"/>
                </a:solidFill>
              </a:rPr>
              <a:t>NAVSUP managed inventory, NAVAIR/NAVSEA managed inventory, and </a:t>
            </a:r>
            <a:r>
              <a:rPr lang="en-US" sz="1200" dirty="0" err="1" smtClean="0">
                <a:solidFill>
                  <a:schemeClr val="tx1"/>
                </a:solidFill>
              </a:rPr>
              <a:t>AvCAL</a:t>
            </a:r>
            <a:r>
              <a:rPr lang="en-US" sz="1200" dirty="0" smtClean="0">
                <a:solidFill>
                  <a:schemeClr val="tx1"/>
                </a:solidFill>
              </a:rPr>
              <a:t>/SHORCAL inventory</a:t>
            </a:r>
            <a:endParaRPr lang="en-US" sz="1200" dirty="0">
              <a:solidFill>
                <a:schemeClr val="tx1"/>
              </a:solidFill>
            </a:endParaRPr>
          </a:p>
          <a:p>
            <a:endParaRPr lang="en-US" sz="1600" dirty="0">
              <a:solidFill>
                <a:schemeClr val="tx1"/>
              </a:solidFill>
            </a:endParaRPr>
          </a:p>
          <a:p>
            <a:r>
              <a:rPr lang="en-US" sz="1600" b="1" dirty="0">
                <a:solidFill>
                  <a:schemeClr val="tx1"/>
                </a:solidFill>
              </a:rPr>
              <a:t>Annualized cost to acquire weapon systems </a:t>
            </a:r>
          </a:p>
          <a:p>
            <a:endParaRPr lang="en-US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28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64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4200" y="86904"/>
            <a:ext cx="8459798" cy="941796"/>
          </a:xfrm>
        </p:spPr>
        <p:txBody>
          <a:bodyPr/>
          <a:lstStyle/>
          <a:p>
            <a:r>
              <a:rPr lang="en-US" dirty="0" smtClean="0"/>
              <a:t>NAVSUP Enterprise </a:t>
            </a:r>
            <a:br>
              <a:rPr lang="en-US" dirty="0" smtClean="0"/>
            </a:br>
            <a:r>
              <a:rPr lang="en-US" dirty="0" smtClean="0"/>
              <a:t>Path </a:t>
            </a:r>
            <a:r>
              <a:rPr lang="en-US" dirty="0"/>
              <a:t>forward for NSS-SUPPLY</a:t>
            </a:r>
          </a:p>
        </p:txBody>
      </p:sp>
      <p:sp>
        <p:nvSpPr>
          <p:cNvPr id="6" name="Text Placeholder 6"/>
          <p:cNvSpPr txBox="1">
            <a:spLocks/>
          </p:cNvSpPr>
          <p:nvPr/>
        </p:nvSpPr>
        <p:spPr>
          <a:xfrm>
            <a:off x="628650" y="1714501"/>
            <a:ext cx="10934699" cy="455879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rebuchet MS"/>
                <a:ea typeface="+mn-ea"/>
                <a:cs typeface="+mn-cs"/>
                <a:sym typeface="Trebuchet MS" panose="020B0603020202020204" pitchFamily="34" charset="0"/>
              </a:rPr>
              <a:t>NSS-Supply is not new work, but a new approach to the work we are already doing</a:t>
            </a:r>
          </a:p>
          <a:p>
            <a:pPr lvl="0">
              <a:spcAft>
                <a:spcPts val="0"/>
              </a:spcAft>
              <a:buNone/>
              <a:defRPr/>
            </a:pPr>
            <a:endParaRPr lang="en-US" sz="2400" b="1" dirty="0">
              <a:solidFill>
                <a:srgbClr val="000000"/>
              </a:solidFill>
            </a:endParaRPr>
          </a:p>
          <a:p>
            <a:pPr lvl="0">
              <a:spcAft>
                <a:spcPts val="0"/>
              </a:spcAft>
              <a:buNone/>
              <a:defRPr/>
            </a:pPr>
            <a:r>
              <a:rPr lang="en-US" sz="2400" b="1" dirty="0">
                <a:solidFill>
                  <a:srgbClr val="000000"/>
                </a:solidFill>
              </a:rPr>
              <a:t>NSS uses data and analytics to identify the key drivers of performance in a given area and is already positively impacting readiness in the fields of aviation and shipyard maintenance.</a:t>
            </a:r>
          </a:p>
          <a:p>
            <a:pPr lvl="0">
              <a:spcAft>
                <a:spcPts val="0"/>
              </a:spcAft>
              <a:buNone/>
              <a:defRPr/>
            </a:pPr>
            <a:endParaRPr lang="en-US" sz="2400" b="1" dirty="0">
              <a:solidFill>
                <a:srgbClr val="000000"/>
              </a:solidFill>
            </a:endParaRPr>
          </a:p>
          <a:p>
            <a:pPr lvl="0">
              <a:spcAft>
                <a:spcPts val="0"/>
              </a:spcAft>
              <a:buNone/>
              <a:defRPr/>
            </a:pPr>
            <a:r>
              <a:rPr lang="en-US" sz="2400" b="1" dirty="0">
                <a:solidFill>
                  <a:srgbClr val="000000"/>
                </a:solidFill>
              </a:rPr>
              <a:t>Then, business best practices are applied to make permanent changes in how Navy modernizes, maintains, operates, man, trains, and supports the force to achieve lasting increases in readiness</a:t>
            </a:r>
            <a:r>
              <a:rPr lang="en-US" sz="2400" b="1" dirty="0" smtClean="0">
                <a:solidFill>
                  <a:srgbClr val="000000"/>
                </a:solidFill>
              </a:rPr>
              <a:t>.</a:t>
            </a:r>
            <a:endParaRPr lang="en-US" sz="24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805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Jhi0l.O2AQudrkAJ6wJ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.8kyz4m81VCkVVzcUCs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oALNwBr_plY5M6uIs53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df5XkFhDrCuGswbcaQb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3Anwab0RD6kgw541p0L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oWNfoxrfqpP4i.pqxN5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47XcyZaNN3lgabWdt15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FHRKyXOiLwFPrumrgWi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KkIRhKyY4pT9FrsZiAS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z4yJjt5NcIYNfoGuIsw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lZtJY5QGwMRIyWy5Drl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pc2W0xVfFp0LQn2vBhG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pc2W0xVfFp0LQn2vBhG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c6l110DXuiNWrIDf9d_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04HhVrxOevT0Fa5du8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7GjG40Y7Dt7CtAHYVO9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0iSnYUVNL3br6cCNDDK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7GjG40Y7Dt7CtAHYVO9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04HhVrxOevT0Fa5du8f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VihldjUUNVf63xlnG3p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sMk6_fiL_j7boLOyTGF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G8M2eliaJfBYp3NbrDj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D58d5cLKInXHq6s2Wb1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aoOTYKDI68wSr4waXe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jFrkHf7QI5ghhS6BHYe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kgYQvooU6Zj7en3xA2E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H5zO.0lSHtruWTYLpvA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o8MFqMG3.Ue2bP58BPQ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FcUh6ntKumUKE9M7wgf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jqZlcqXDkEFN34gZf0h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HBHmjJrP8FasdJ8YSZA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uW3KDxu5Ky7mDYswm5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DlFkCUtT.g7JCxQRVCg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dH69xJkU1OBoKA6k1y8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tuCZqXLqZKSpksnndvu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0gvkU..LELgDfIY7Zmd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Y.8Pxj3yHuC39XcKzK4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PtOaej03fVmGNenbTfd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xz_.1uq.CQSzgCCakqW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edySfy5S9u_SJIlJgCf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QMk0Z3uTTAZ0GZXuIlJ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QMk0Z3uTTAZ0GZXuIlJ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QMk0Z3uTTAZ0GZXuIlJ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Z0SbGJ_7r8LJobnuLy6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xrB8jQo_E77K3zfSlbC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zGqEP2y0W18a3ZMeZG7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AqbN_BOMtkId4doH1f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MKH87x4G.kDqAUjU7VE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H1lwEO.fZt3g9qqkBc_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N7W3VL7t7Z2FzhbxmVM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3XS_A3B2X2UImbfuwnB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Wfq8Zl0XucEqr9zXOga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ViXizOoUanIbicXTx_.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Ha.xG5e62K9AToEUXqL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38OOZB21wUqPMpV0l08T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K3zS7MBbZzcaFKh3QIt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lk5zXrkNF6ttPA.KmHk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eB8cfBUJlBI6ZifX3UdA"/>
</p:tagLst>
</file>

<file path=ppt/theme/theme1.xml><?xml version="1.0" encoding="utf-8"?>
<a:theme xmlns:a="http://schemas.openxmlformats.org/drawingml/2006/main" name="Cover/Title Pag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lIns="91391" tIns="45695" rIns="91391" bIns="45695" anchor="ctr"/>
      <a:lstStyle>
        <a:defPPr algn="l" eaLnBrk="1" fontAlgn="auto" hangingPunct="1">
          <a:spcBef>
            <a:spcPts val="0"/>
          </a:spcBef>
          <a:spcAft>
            <a:spcPts val="0"/>
          </a:spcAft>
          <a:defRPr sz="1800" b="0" i="1" dirty="0" smtClean="0">
            <a:solidFill>
              <a:schemeClr val="bg2">
                <a:lumMod val="50000"/>
              </a:schemeClr>
            </a:solidFill>
            <a:latin typeface="Franklin Gothic Demi" panose="020B0703020102020204" pitchFamily="34" charset="0"/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over/Title Pag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lIns="91391" tIns="45695" rIns="91391" bIns="45695" anchor="ctr"/>
      <a:lstStyle>
        <a:defPPr algn="l" eaLnBrk="1" fontAlgn="auto" hangingPunct="1">
          <a:spcBef>
            <a:spcPts val="0"/>
          </a:spcBef>
          <a:spcAft>
            <a:spcPts val="0"/>
          </a:spcAft>
          <a:defRPr sz="1800" b="0" i="1" dirty="0" smtClean="0">
            <a:solidFill>
              <a:schemeClr val="bg2">
                <a:lumMod val="50000"/>
              </a:schemeClr>
            </a:solidFill>
            <a:latin typeface="Franklin Gothic Demi" panose="020B0703020102020204" pitchFamily="34" charset="0"/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Bullet Lis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 Bold">
      <a:majorFont>
        <a:latin typeface="20 pt Arial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Maritime Map Sl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anchor="b"/>
      <a:lstStyle>
        <a:defPPr>
          <a:lnSpc>
            <a:spcPts val="2100"/>
          </a:lnSpc>
          <a:buFont typeface="Arial" panose="020B0604020202020204" pitchFamily="34" charset="0"/>
          <a:buNone/>
          <a:defRPr sz="2400" dirty="0" smtClean="0">
            <a:latin typeface="Franklin Gothic Demi" panose="020B07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Navy CNAF and NAVSUP Grid 16:9">
  <a:themeElements>
    <a:clrScheme name="navy">
      <a:dk1>
        <a:srgbClr val="000000"/>
      </a:dk1>
      <a:lt1>
        <a:sysClr val="window" lastClr="FFFFFF"/>
      </a:lt1>
      <a:dk2>
        <a:srgbClr val="002060"/>
      </a:dk2>
      <a:lt2>
        <a:srgbClr val="F2F2F2"/>
      </a:lt2>
      <a:accent1>
        <a:srgbClr val="000B22"/>
      </a:accent1>
      <a:accent2>
        <a:srgbClr val="0F2239"/>
      </a:accent2>
      <a:accent3>
        <a:srgbClr val="E5E500"/>
      </a:accent3>
      <a:accent4>
        <a:srgbClr val="0042C8"/>
      </a:accent4>
      <a:accent5>
        <a:srgbClr val="5A5A5A"/>
      </a:accent5>
      <a:accent6>
        <a:srgbClr val="009999"/>
      </a:accent6>
      <a:hlink>
        <a:srgbClr val="C00000"/>
      </a:hlink>
      <a:folHlink>
        <a:srgbClr val="C00000"/>
      </a:folHlink>
    </a:clrScheme>
    <a:fontScheme name="Custom 4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2060"/>
        </a:solidFill>
        <a:ln w="9525" cap="rnd" cmpd="sng" algn="ctr">
          <a:solidFill>
            <a:srgbClr val="002060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 cmpd="sng" algn="ctr">
          <a:solidFill>
            <a:srgbClr val="BFBFBF"/>
          </a:solidFill>
          <a:prstDash val="solid"/>
          <a:round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1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231</TotalTime>
  <Words>1393</Words>
  <Application>Microsoft Office PowerPoint</Application>
  <PresentationFormat>Widescreen</PresentationFormat>
  <Paragraphs>124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2" baseType="lpstr">
      <vt:lpstr>MS PGothic</vt:lpstr>
      <vt:lpstr>Arial</vt:lpstr>
      <vt:lpstr>Arial Bold</vt:lpstr>
      <vt:lpstr>Calibri</vt:lpstr>
      <vt:lpstr>Franklin Gothic Book</vt:lpstr>
      <vt:lpstr>Franklin Gothic Demi</vt:lpstr>
      <vt:lpstr>Franklin Gothic Medium</vt:lpstr>
      <vt:lpstr>Trebuchet MS</vt:lpstr>
      <vt:lpstr>Wingdings</vt:lpstr>
      <vt:lpstr>Cover/Title Page</vt:lpstr>
      <vt:lpstr>1_Cover/Title Page</vt:lpstr>
      <vt:lpstr>Bullet List</vt:lpstr>
      <vt:lpstr>Maritime Map Slide</vt:lpstr>
      <vt:lpstr>Navy CNAF and NAVSUP Grid 16:9</vt:lpstr>
      <vt:lpstr>think-cell Slide</vt:lpstr>
      <vt:lpstr>NSS-SUPPLY</vt:lpstr>
      <vt:lpstr>PowerPoint Presentation</vt:lpstr>
      <vt:lpstr>NSS-SUPPLY is a new approach,  not a new Mission </vt:lpstr>
      <vt:lpstr>NAVSUP designated supported commander for NSS-SUPPLY</vt:lpstr>
      <vt:lpstr>NSS-SUPPLY will focus on 6 key pillars to drive higher performance</vt:lpstr>
      <vt:lpstr>Anatomy of the Figure of Merit (FOM)</vt:lpstr>
      <vt:lpstr>NAVSUP Enterprise  Path forward for NSS-SUPPLY</vt:lpstr>
    </vt:vector>
  </TitlesOfParts>
  <Company>HPES NMCI NG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ewart, Russ</dc:creator>
  <cp:lastModifiedBy>Stewart, Russ CIV NAVSUP, N0CC</cp:lastModifiedBy>
  <cp:revision>1275</cp:revision>
  <cp:lastPrinted>2019-08-06T14:23:56Z</cp:lastPrinted>
  <dcterms:created xsi:type="dcterms:W3CDTF">2018-05-03T15:35:55Z</dcterms:created>
  <dcterms:modified xsi:type="dcterms:W3CDTF">2021-02-24T20:03:38Z</dcterms:modified>
</cp:coreProperties>
</file>